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3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4189" r:id="rId1"/>
    <p:sldMasterId id="2147483661" r:id="rId2"/>
    <p:sldMasterId id="2147483717" r:id="rId3"/>
    <p:sldMasterId id="2147483826" r:id="rId4"/>
  </p:sldMasterIdLst>
  <p:notesMasterIdLst>
    <p:notesMasterId r:id="rId6"/>
  </p:notesMasterIdLst>
  <p:sldIdLst>
    <p:sldId id="2340" r:id="rId5"/>
  </p:sldIdLst>
  <p:sldSz cx="9906000" cy="6858000" type="A4"/>
  <p:notesSz cx="6797675" cy="9926638"/>
  <p:defaultTextStyle>
    <a:defPPr>
      <a:defRPr lang="de-DE"/>
    </a:defPPr>
    <a:lvl1pPr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1pPr>
    <a:lvl2pPr marL="4572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2pPr>
    <a:lvl3pPr marL="9144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3pPr>
    <a:lvl4pPr marL="13716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4pPr>
    <a:lvl5pPr marL="1828800" algn="l" rtl="0" fontAlgn="base">
      <a:spcBef>
        <a:spcPct val="20000"/>
      </a:spcBef>
      <a:spcAft>
        <a:spcPct val="0"/>
      </a:spcAft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6pPr>
    <a:lvl7pPr marL="27432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7pPr>
    <a:lvl8pPr marL="32004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8pPr>
    <a:lvl9pPr marL="3657600" algn="l" defTabSz="914400" rtl="0" eaLnBrk="1" latinLnBrk="0" hangingPunct="1">
      <a:defRPr sz="1200" kern="1200">
        <a:solidFill>
          <a:srgbClr val="131313"/>
        </a:solidFill>
        <a:latin typeface="Arial" charset="0"/>
        <a:ea typeface="ＭＳ Ｐゴシック" pitchFamily="1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 userDrawn="1">
          <p15:clr>
            <a:srgbClr val="A4A3A4"/>
          </p15:clr>
        </p15:guide>
        <p15:guide id="7" orient="horz" pos="1706" userDrawn="1">
          <p15:clr>
            <a:srgbClr val="A4A3A4"/>
          </p15:clr>
        </p15:guide>
        <p15:guide id="11" orient="horz" pos="3385" userDrawn="1">
          <p15:clr>
            <a:srgbClr val="A4A3A4"/>
          </p15:clr>
        </p15:guide>
        <p15:guide id="19" pos="5615" userDrawn="1">
          <p15:clr>
            <a:srgbClr val="A4A3A4"/>
          </p15:clr>
        </p15:guide>
        <p15:guide id="20" orient="horz" pos="2704" userDrawn="1">
          <p15:clr>
            <a:srgbClr val="A4A3A4"/>
          </p15:clr>
        </p15:guide>
        <p15:guide id="21" pos="1306" userDrawn="1">
          <p15:clr>
            <a:srgbClr val="A4A3A4"/>
          </p15:clr>
        </p15:guide>
        <p15:guide id="22" pos="4934" userDrawn="1">
          <p15:clr>
            <a:srgbClr val="A4A3A4"/>
          </p15:clr>
        </p15:guide>
        <p15:guide id="23" pos="1986" userDrawn="1">
          <p15:clr>
            <a:srgbClr val="A4A3A4"/>
          </p15:clr>
        </p15:guide>
        <p15:guide id="25" pos="4254" userDrawn="1">
          <p15:clr>
            <a:srgbClr val="A4A3A4"/>
          </p15:clr>
        </p15:guide>
        <p15:guide id="26" pos="4617" userDrawn="1">
          <p15:clr>
            <a:srgbClr val="A4A3A4"/>
          </p15:clr>
        </p15:guide>
        <p15:guide id="27" orient="horz" pos="2931" userDrawn="1">
          <p15:clr>
            <a:srgbClr val="A4A3A4"/>
          </p15:clr>
        </p15:guide>
        <p15:guide id="28" pos="16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95" clrIdx="0"/>
  <p:cmAuthor id="1" name="Laura" initials="L" lastIdx="6" clrIdx="1">
    <p:extLst>
      <p:ext uri="{19B8F6BF-5375-455C-9EA6-DF929625EA0E}">
        <p15:presenceInfo xmlns:p15="http://schemas.microsoft.com/office/powerpoint/2012/main" userId="Laura" providerId="None"/>
      </p:ext>
    </p:extLst>
  </p:cmAuthor>
  <p:cmAuthor id="2" name="Standard" initials="S" lastIdx="1" clrIdx="2">
    <p:extLst>
      <p:ext uri="{19B8F6BF-5375-455C-9EA6-DF929625EA0E}">
        <p15:presenceInfo xmlns:p15="http://schemas.microsoft.com/office/powerpoint/2012/main" userId="Standard" providerId="None"/>
      </p:ext>
    </p:extLst>
  </p:cmAuthor>
  <p:cmAuthor id="3" name="Doctor" initials="D" lastIdx="59" clrIdx="3">
    <p:extLst>
      <p:ext uri="{19B8F6BF-5375-455C-9EA6-DF929625EA0E}">
        <p15:presenceInfo xmlns:p15="http://schemas.microsoft.com/office/powerpoint/2012/main" userId="Doctor" providerId="None"/>
      </p:ext>
    </p:extLst>
  </p:cmAuthor>
  <p:cmAuthor id="4" name="Slawka Jordanow" initials="SJ" lastIdx="3" clrIdx="4">
    <p:extLst>
      <p:ext uri="{19B8F6BF-5375-455C-9EA6-DF929625EA0E}">
        <p15:presenceInfo xmlns:p15="http://schemas.microsoft.com/office/powerpoint/2012/main" userId="dc4820c29a6bef0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9EF"/>
    <a:srgbClr val="003479"/>
    <a:srgbClr val="C5C7C8"/>
    <a:srgbClr val="11C7C8"/>
    <a:srgbClr val="E6E6E6"/>
    <a:srgbClr val="E5E927"/>
    <a:srgbClr val="C5C714"/>
    <a:srgbClr val="003379"/>
    <a:srgbClr val="324A7D"/>
    <a:srgbClr val="7D91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05" autoAdjust="0"/>
    <p:restoredTop sz="90023" autoAdjust="0"/>
  </p:normalViewPr>
  <p:slideViewPr>
    <p:cSldViewPr>
      <p:cViewPr varScale="1">
        <p:scale>
          <a:sx n="99" d="100"/>
          <a:sy n="99" d="100"/>
        </p:scale>
        <p:origin x="1782" y="72"/>
      </p:cViewPr>
      <p:guideLst>
        <p:guide orient="horz" pos="845"/>
        <p:guide orient="horz" pos="1706"/>
        <p:guide orient="horz" pos="3385"/>
        <p:guide pos="5615"/>
        <p:guide orient="horz" pos="2704"/>
        <p:guide pos="1306"/>
        <p:guide pos="4934"/>
        <p:guide pos="1986"/>
        <p:guide pos="4254"/>
        <p:guide pos="4617"/>
        <p:guide orient="horz" pos="2931"/>
        <p:guide pos="16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448" cy="496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2" tIns="45656" rIns="91312" bIns="45656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228" y="0"/>
            <a:ext cx="2945448" cy="496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2" tIns="45656" rIns="91312" bIns="45656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4538"/>
            <a:ext cx="53721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780" y="4715192"/>
            <a:ext cx="4984116" cy="4466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2" tIns="45656" rIns="91312" bIns="4565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385"/>
            <a:ext cx="2945448" cy="496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2" tIns="45656" rIns="91312" bIns="45656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228" y="9430385"/>
            <a:ext cx="2945448" cy="496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12" tIns="45656" rIns="91312" bIns="45656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>
                <a:solidFill>
                  <a:schemeClr val="tx1"/>
                </a:solidFill>
              </a:defRPr>
            </a:lvl1pPr>
          </a:lstStyle>
          <a:p>
            <a:fld id="{D27C40B6-F95C-42D5-ADDE-CE006E8FEFF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68287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A859BA-1308-49BA-A3C2-1FA1A68F159B}" type="slidenum">
              <a:rPr lang="de-DE"/>
              <a:pPr/>
              <a:t>0</a:t>
            </a:fld>
            <a:endParaRPr lang="de-DE" dirty="0"/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2788" y="744538"/>
            <a:ext cx="5372100" cy="3721100"/>
          </a:xfrm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214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9" name="Rectangle 17"/>
          <p:cNvSpPr>
            <a:spLocks noChangeArrowheads="1"/>
          </p:cNvSpPr>
          <p:nvPr/>
        </p:nvSpPr>
        <p:spPr bwMode="auto">
          <a:xfrm>
            <a:off x="0" y="2667000"/>
            <a:ext cx="9909175" cy="4191000"/>
          </a:xfrm>
          <a:prstGeom prst="rect">
            <a:avLst/>
          </a:prstGeom>
          <a:solidFill>
            <a:srgbClr val="BEC1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31313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t> 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20750" y="2819400"/>
            <a:ext cx="6934200" cy="473075"/>
          </a:xfrm>
        </p:spPr>
        <p:txBody>
          <a:bodyPr/>
          <a:lstStyle>
            <a:lvl1pPr>
              <a:defRPr sz="2400">
                <a:solidFill>
                  <a:srgbClr val="024678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5038" y="3429000"/>
            <a:ext cx="6934200" cy="1295400"/>
          </a:xfrm>
        </p:spPr>
        <p:txBody>
          <a:bodyPr/>
          <a:lstStyle>
            <a:lvl1pPr>
              <a:defRPr sz="1600">
                <a:solidFill>
                  <a:srgbClr val="024678"/>
                </a:solidFill>
              </a:defRPr>
            </a:lvl1pPr>
          </a:lstStyle>
          <a:p>
            <a:pPr lvl="0"/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3111" name="Rectangle 39"/>
          <p:cNvSpPr>
            <a:spLocks noChangeArrowheads="1"/>
          </p:cNvSpPr>
          <p:nvPr/>
        </p:nvSpPr>
        <p:spPr bwMode="auto">
          <a:xfrm>
            <a:off x="0" y="0"/>
            <a:ext cx="9906000" cy="120650"/>
          </a:xfrm>
          <a:prstGeom prst="rect">
            <a:avLst/>
          </a:prstGeom>
          <a:solidFill>
            <a:srgbClr val="02467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3114" name="Rectangle 42"/>
          <p:cNvSpPr>
            <a:spLocks noChangeArrowheads="1"/>
          </p:cNvSpPr>
          <p:nvPr/>
        </p:nvSpPr>
        <p:spPr bwMode="auto">
          <a:xfrm>
            <a:off x="7467600" y="6711950"/>
            <a:ext cx="2438400" cy="146050"/>
          </a:xfrm>
          <a:prstGeom prst="rect">
            <a:avLst/>
          </a:prstGeom>
          <a:solidFill>
            <a:srgbClr val="024678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3121" name="Rectangle 49"/>
          <p:cNvSpPr>
            <a:spLocks noChangeArrowheads="1"/>
          </p:cNvSpPr>
          <p:nvPr/>
        </p:nvSpPr>
        <p:spPr bwMode="auto">
          <a:xfrm>
            <a:off x="3008313" y="1124273"/>
            <a:ext cx="6897687" cy="1547374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pic>
        <p:nvPicPr>
          <p:cNvPr id="12" name="Grafik 11" descr="C:\Users\HeidenreichS\AppData\Local\Microsoft\Windows\Temporary Internet Files\Content.Word\Neues Bild (35).bmp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0" y="227195"/>
            <a:ext cx="2155825" cy="7759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" y="1124273"/>
            <a:ext cx="3152210" cy="1547449"/>
          </a:xfrm>
          <a:prstGeom prst="rect">
            <a:avLst/>
          </a:prstGeom>
        </p:spPr>
      </p:pic>
      <p:sp>
        <p:nvSpPr>
          <p:cNvPr id="15" name="Rectangle 2"/>
          <p:cNvSpPr txBox="1">
            <a:spLocks noChangeArrowheads="1"/>
          </p:cNvSpPr>
          <p:nvPr userDrawn="1"/>
        </p:nvSpPr>
        <p:spPr bwMode="auto">
          <a:xfrm>
            <a:off x="4434218" y="1079669"/>
            <a:ext cx="4464496" cy="154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47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b="1">
                <a:solidFill>
                  <a:srgbClr val="003479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ＭＳ Ｐゴシック"/>
                <a:cs typeface="+mj-cs"/>
              </a:rPr>
              <a:t>Ud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4F76422-C885-4FD2-942D-4872972547F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25208" y="152401"/>
            <a:ext cx="2952328" cy="775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175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">
          <p15:clr>
            <a:srgbClr val="FBAE40"/>
          </p15:clr>
        </p15:guide>
        <p15:guide id="2" pos="5842">
          <p15:clr>
            <a:srgbClr val="FBAE40"/>
          </p15:clr>
        </p15:guide>
        <p15:guide id="3" pos="5343">
          <p15:clr>
            <a:srgbClr val="FBAE40"/>
          </p15:clr>
        </p15:guide>
        <p15:guide id="4" pos="897">
          <p15:clr>
            <a:srgbClr val="FBAE40"/>
          </p15:clr>
        </p15:guide>
        <p15:guide id="5" pos="172">
          <p15:clr>
            <a:srgbClr val="FBAE40"/>
          </p15:clr>
        </p15:guide>
        <p15:guide id="6" pos="126">
          <p15:clr>
            <a:srgbClr val="FBAE40"/>
          </p15:clr>
        </p15:guide>
        <p15:guide id="7" pos="6068">
          <p15:clr>
            <a:srgbClr val="FBAE40"/>
          </p15:clr>
        </p15:guide>
        <p15:guide id="8" pos="3120">
          <p15:clr>
            <a:srgbClr val="FBAE40"/>
          </p15:clr>
        </p15:guide>
        <p15:guide id="10" orient="horz" pos="709">
          <p15:clr>
            <a:srgbClr val="FBAE40"/>
          </p15:clr>
        </p15:guide>
        <p15:guide id="11" orient="horz" pos="981">
          <p15:clr>
            <a:srgbClr val="FBAE40"/>
          </p15:clr>
        </p15:guide>
        <p15:guide id="12" orient="horz" pos="1979">
          <p15:clr>
            <a:srgbClr val="FBAE40"/>
          </p15:clr>
        </p15:guide>
        <p15:guide id="13" orient="horz" pos="275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1247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992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856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6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270296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12561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8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99556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2084388" y="13227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400" y="2190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3054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369354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83275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89154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03307506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4"/>
            <a:ext cx="94107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4800"/>
            <a:ext cx="84201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827285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687600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6876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13716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16002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6876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50936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1375204"/>
            <a:ext cx="9410700" cy="365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3752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057400"/>
            <a:ext cx="8915400" cy="27432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286000"/>
            <a:ext cx="8420100" cy="22860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6,35/7,62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13752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2087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059200"/>
            <a:ext cx="9410700" cy="228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0592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743200"/>
            <a:ext cx="8915400" cy="1371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971800"/>
            <a:ext cx="8420100" cy="9144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2,54/3,8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0592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31670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286000"/>
            <a:ext cx="9410700" cy="1828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2860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971800"/>
            <a:ext cx="8915400" cy="914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3313800"/>
            <a:ext cx="8420100" cy="457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,27/2,5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2860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37117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2"/>
            <a:ext cx="9410700" cy="662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1200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97729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066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1"/>
            <a:ext cx="8915400" cy="582022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6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</p:spTree>
    <p:extLst>
      <p:ext uri="{BB962C8B-B14F-4D97-AF65-F5344CB8AC3E}">
        <p14:creationId xmlns:p14="http://schemas.microsoft.com/office/powerpoint/2010/main" val="178825456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17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35308585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7213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721359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23896533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_zweiseitig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5700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1400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3710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491400" y="230402"/>
            <a:ext cx="9410700" cy="6876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egend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4825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742632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1247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992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856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6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270296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12561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8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99556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2084388" y="13227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400" y="2190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3054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369354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83275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89154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4557636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7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4696853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2084400" y="4755636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6580928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tsetzung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" y="230402"/>
            <a:ext cx="94107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67577849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rtschaftsprax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hteck 16"/>
          <p:cNvSpPr/>
          <p:nvPr userDrawn="1"/>
        </p:nvSpPr>
        <p:spPr>
          <a:xfrm flipH="1"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48300" y="2304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 algn="ctr"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Wirtschaftspraxis XX-XX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1361100" y="1461600"/>
            <a:ext cx="7183800" cy="4345200"/>
          </a:xfrm>
        </p:spPr>
        <p:txBody>
          <a:bodyPr anchor="ctr" anchorCtr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0865211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9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4953000" y="457202"/>
            <a:ext cx="47073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26575217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  <p:sp>
        <p:nvSpPr>
          <p:cNvPr id="8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2726102" y="457202"/>
            <a:ext cx="69342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9862531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0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76500" y="1828802"/>
            <a:ext cx="71838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18,42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76500" y="13752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828802"/>
            <a:ext cx="1981200" cy="48024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601290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2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9602" y="1828802"/>
            <a:ext cx="94107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24,13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9602" y="13752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01033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76500" y="9144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34544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0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9600" y="9144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44609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ss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499" y="3200400"/>
            <a:ext cx="7183800" cy="3430800"/>
          </a:xfrm>
        </p:spPr>
        <p:txBody>
          <a:bodyPr/>
          <a:lstStyle>
            <a:lvl1pPr marL="0" indent="0">
              <a:buNone/>
              <a:defRPr sz="4800" b="0">
                <a:solidFill>
                  <a:schemeClr val="bg2"/>
                </a:solidFill>
              </a:defRPr>
            </a:lvl1pPr>
            <a:lvl2pPr marL="180758" indent="0">
              <a:buNone/>
              <a:defRPr b="0">
                <a:solidFill>
                  <a:schemeClr val="bg2"/>
                </a:solidFill>
              </a:defRPr>
            </a:lvl2pPr>
            <a:lvl3pPr marL="363112" indent="0">
              <a:buNone/>
              <a:defRPr b="0">
                <a:solidFill>
                  <a:schemeClr val="bg2"/>
                </a:solidFill>
              </a:defRPr>
            </a:lvl3pPr>
            <a:lvl4pPr marL="543871" indent="0">
              <a:buNone/>
              <a:defRPr b="0">
                <a:solidFill>
                  <a:schemeClr val="bg2"/>
                </a:solidFill>
              </a:defRPr>
            </a:lvl4pPr>
            <a:lvl5pPr marL="726226" indent="0"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Passwor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516400"/>
            <a:ext cx="7183800" cy="457200"/>
          </a:xfrm>
        </p:spPr>
        <p:txBody>
          <a:bodyPr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sswort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1290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2750057"/>
              </p:ext>
            </p:extLst>
          </p:nvPr>
        </p:nvGraphicFramePr>
        <p:xfrm>
          <a:off x="0" y="0"/>
          <a:ext cx="9906000" cy="68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980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1247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992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856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6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270296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12561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8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99556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2084388" y="13227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400" y="2190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3054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369354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83275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89154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4557636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7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4696853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2084400" y="4755636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812" y="5421732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0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5560949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1" name="Textplatzhalter 49"/>
          <p:cNvSpPr>
            <a:spLocks noGrp="1"/>
          </p:cNvSpPr>
          <p:nvPr>
            <p:ph type="body" sz="quarter" idx="16" hasCustomPrompt="1"/>
          </p:nvPr>
        </p:nvSpPr>
        <p:spPr>
          <a:xfrm>
            <a:off x="2084400" y="5619732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8797944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32421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Obertitel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1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450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87819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496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476500" y="1371602"/>
            <a:ext cx="7429500" cy="18288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2971802" y="1371600"/>
            <a:ext cx="6438900" cy="914400"/>
          </a:xfrm>
        </p:spPr>
        <p:txBody>
          <a:bodyPr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i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71801" y="2286002"/>
            <a:ext cx="6438900" cy="9144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180727" indent="0">
              <a:buNone/>
              <a:defRPr/>
            </a:lvl2pPr>
            <a:lvl3pPr marL="363053" indent="0">
              <a:buNone/>
              <a:defRPr/>
            </a:lvl3pPr>
            <a:lvl4pPr marL="543779" indent="0">
              <a:buNone/>
              <a:defRPr/>
            </a:lvl4pPr>
            <a:lvl5pPr marL="726106" indent="0">
              <a:buNone/>
              <a:defRPr/>
            </a:lvl5pPr>
          </a:lstStyle>
          <a:p>
            <a:pPr lvl="0"/>
            <a:r>
              <a:rPr lang="de-DE" dirty="0"/>
              <a:t>Bezeichnung</a:t>
            </a:r>
          </a:p>
        </p:txBody>
      </p:sp>
    </p:spTree>
    <p:extLst>
      <p:ext uri="{BB962C8B-B14F-4D97-AF65-F5344CB8AC3E}">
        <p14:creationId xmlns:p14="http://schemas.microsoft.com/office/powerpoint/2010/main" val="4194304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485900" y="2516400"/>
            <a:ext cx="1981200" cy="9144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buNone/>
              <a:defRPr sz="9600" b="1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2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16701" y="2516400"/>
            <a:ext cx="4457700" cy="914400"/>
          </a:xfrm>
        </p:spPr>
        <p:txBody>
          <a:bodyPr bIns="0" anchor="b" anchorCtr="0"/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595636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navig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abellenplatzhalter 17"/>
          <p:cNvSpPr>
            <a:spLocks noGrp="1"/>
          </p:cNvSpPr>
          <p:nvPr userDrawn="1">
            <p:ph type="tbl" sz="quarter" idx="15"/>
          </p:nvPr>
        </p:nvSpPr>
        <p:spPr>
          <a:xfrm>
            <a:off x="495300" y="914400"/>
            <a:ext cx="8915400" cy="5486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Tabelle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2304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Kapitelnavigator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2925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373225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3467100" y="1371600"/>
            <a:ext cx="61932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09604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2286000"/>
            <a:ext cx="7183800" cy="434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49600" y="2286000"/>
            <a:ext cx="1981200" cy="43452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786025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überschrif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1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95558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230402"/>
            <a:ext cx="71838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84062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2)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55520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42088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700808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53995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388" y="1753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2617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891320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3467100" y="230402"/>
            <a:ext cx="61932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252058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230402"/>
            <a:ext cx="94107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2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09901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76500" y="1602001"/>
            <a:ext cx="71838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1601999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726100" y="2286000"/>
            <a:ext cx="66885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2516400"/>
            <a:ext cx="61932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5,88/17,15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1774649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1240200" y="1605598"/>
            <a:ext cx="84201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0" y="1602002"/>
            <a:ext cx="5955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485900" y="2286000"/>
            <a:ext cx="79248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2516400"/>
            <a:ext cx="74295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9,05/20,32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429062716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602001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19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64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97490182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2516401"/>
            <a:ext cx="9410700" cy="411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5163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3200400"/>
            <a:ext cx="8915400" cy="3200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3430800"/>
            <a:ext cx="8420100" cy="2743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7,62/8,89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25163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5057218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598400"/>
            <a:ext cx="9410700" cy="5259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20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572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2800"/>
            <a:ext cx="8420100" cy="4345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2,07 x 21,59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25173494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76500" y="230404"/>
            <a:ext cx="71838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230406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726100" y="914400"/>
            <a:ext cx="66885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1144800"/>
            <a:ext cx="61932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5,88/17,1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038430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1240200" y="230404"/>
            <a:ext cx="84201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2" y="230402"/>
            <a:ext cx="59436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1485900" y="914400"/>
            <a:ext cx="79248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1155600"/>
            <a:ext cx="74295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9,05/20,3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1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83876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4"/>
            <a:ext cx="94107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4800"/>
            <a:ext cx="84201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846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3)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55520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42088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329083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700808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53995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40990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388" y="1753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2617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4884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5986592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687600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6876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13716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16002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6876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081399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1375204"/>
            <a:ext cx="9410700" cy="365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3752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057400"/>
            <a:ext cx="8915400" cy="27432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286000"/>
            <a:ext cx="8420100" cy="22860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6,35/7,62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13752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930794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059200"/>
            <a:ext cx="9410700" cy="228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0592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743200"/>
            <a:ext cx="8915400" cy="1371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971800"/>
            <a:ext cx="8420100" cy="9144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2,54/3,8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0592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324992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286000"/>
            <a:ext cx="9410700" cy="1828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2860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971800"/>
            <a:ext cx="8915400" cy="914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3313800"/>
            <a:ext cx="8420100" cy="457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,27/2,5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2860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2374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2"/>
            <a:ext cx="9410700" cy="662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1200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94236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066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1"/>
            <a:ext cx="8915400" cy="582022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6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</p:spTree>
    <p:extLst>
      <p:ext uri="{BB962C8B-B14F-4D97-AF65-F5344CB8AC3E}">
        <p14:creationId xmlns:p14="http://schemas.microsoft.com/office/powerpoint/2010/main" val="229928528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17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39224527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7213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721359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42911890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_zweiseitig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5700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1400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3710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491400" y="230402"/>
            <a:ext cx="9410700" cy="6876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egend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11817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tsetzung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" y="230402"/>
            <a:ext cx="94107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179166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4)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55520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42088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329083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700808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53995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40990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388" y="1753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2617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4884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6000" y="414908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1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9600" y="428829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2" name="Textplatzhalt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2084400" y="434708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97784514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rtschaftsprax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 userDrawn="1"/>
        </p:nvSpPr>
        <p:spPr>
          <a:xfrm flipH="1"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48300" y="2304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 algn="ctr"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Wirtschaftspraxis XX-XX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1361100" y="1461600"/>
            <a:ext cx="7183800" cy="4345200"/>
          </a:xfrm>
        </p:spPr>
        <p:txBody>
          <a:bodyPr anchor="ctr" anchorCtr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7915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4953000" y="457202"/>
            <a:ext cx="47073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91006024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2726102" y="457202"/>
            <a:ext cx="69342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06243785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0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76500" y="1828802"/>
            <a:ext cx="71838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18,42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76500" y="13752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828802"/>
            <a:ext cx="1981200" cy="48024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210300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2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9602" y="1828802"/>
            <a:ext cx="94107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24,13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9602" y="13752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28506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76500" y="9144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1057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0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9600" y="9144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31522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ss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59" y="6842614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499" y="3200400"/>
            <a:ext cx="7183800" cy="3430800"/>
          </a:xfrm>
        </p:spPr>
        <p:txBody>
          <a:bodyPr/>
          <a:lstStyle>
            <a:lvl1pPr marL="0" indent="0">
              <a:buNone/>
              <a:defRPr sz="4800" b="0">
                <a:solidFill>
                  <a:schemeClr val="bg2"/>
                </a:solidFill>
              </a:defRPr>
            </a:lvl1pPr>
            <a:lvl2pPr marL="180758" indent="0">
              <a:buNone/>
              <a:defRPr b="0">
                <a:solidFill>
                  <a:schemeClr val="bg2"/>
                </a:solidFill>
              </a:defRPr>
            </a:lvl2pPr>
            <a:lvl3pPr marL="363112" indent="0">
              <a:buNone/>
              <a:defRPr b="0">
                <a:solidFill>
                  <a:schemeClr val="bg2"/>
                </a:solidFill>
              </a:defRPr>
            </a:lvl3pPr>
            <a:lvl4pPr marL="543871" indent="0">
              <a:buNone/>
              <a:defRPr b="0">
                <a:solidFill>
                  <a:schemeClr val="bg2"/>
                </a:solidFill>
              </a:defRPr>
            </a:lvl4pPr>
            <a:lvl5pPr marL="726226" indent="0"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Passwor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1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516400"/>
            <a:ext cx="7183800" cy="457200"/>
          </a:xfrm>
        </p:spPr>
        <p:txBody>
          <a:bodyPr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sswort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33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5"/>
          <p:cNvGraphicFramePr>
            <a:graphicFrameLocks noGrp="1"/>
          </p:cNvGraphicFramePr>
          <p:nvPr userDrawn="1"/>
        </p:nvGraphicFramePr>
        <p:xfrm>
          <a:off x="0" y="0"/>
          <a:ext cx="9906000" cy="68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13565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5)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55520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42088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329083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700808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53995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40990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388" y="1753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2617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4884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6000" y="414908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1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9600" y="428829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2" name="Textplatzhalt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2084400" y="434708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024" y="498814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4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5127365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5" name="Textplatzhalter 49"/>
          <p:cNvSpPr>
            <a:spLocks noGrp="1"/>
          </p:cNvSpPr>
          <p:nvPr>
            <p:ph type="body" sz="quarter" idx="16" hasCustomPrompt="1"/>
          </p:nvPr>
        </p:nvSpPr>
        <p:spPr>
          <a:xfrm>
            <a:off x="2083424" y="5186148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09134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6)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55520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42088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329083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700808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4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53995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5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340990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6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8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388" y="1753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26172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0" name="Textplatzhalter 49"/>
          <p:cNvSpPr>
            <a:spLocks noGrp="1"/>
          </p:cNvSpPr>
          <p:nvPr>
            <p:ph type="body" sz="quarter" idx="14" hasCustomPrompt="1"/>
          </p:nvPr>
        </p:nvSpPr>
        <p:spPr>
          <a:xfrm>
            <a:off x="2084400" y="3488400"/>
            <a:ext cx="5760000" cy="305900"/>
          </a:xfrm>
          <a:effectLst/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6000" y="4149080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1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9600" y="4288297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2" name="Textplatzhalt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2084400" y="4347080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024" y="4988148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4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5127365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5" name="Textplatzhalter 49"/>
          <p:cNvSpPr>
            <a:spLocks noGrp="1"/>
          </p:cNvSpPr>
          <p:nvPr>
            <p:ph type="body" sz="quarter" idx="16" hasCustomPrompt="1"/>
          </p:nvPr>
        </p:nvSpPr>
        <p:spPr>
          <a:xfrm>
            <a:off x="2083424" y="5186148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6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25024" y="58522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7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599146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28" name="Textplatzhalter 49"/>
          <p:cNvSpPr>
            <a:spLocks noGrp="1"/>
          </p:cNvSpPr>
          <p:nvPr>
            <p:ph type="body" sz="quarter" idx="17" hasCustomPrompt="1"/>
          </p:nvPr>
        </p:nvSpPr>
        <p:spPr>
          <a:xfrm>
            <a:off x="2083424" y="60502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742875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2)/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12474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12474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198884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198884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7503521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3)/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12474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12474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198884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198884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285293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285293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849909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270FF1-B188-4C2F-A24B-B6A4485D1245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8333801E-7080-43F4-8DB6-9BBFD3AA3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600" y="1125264"/>
            <a:ext cx="8640000" cy="4680000"/>
          </a:xfrm>
        </p:spPr>
        <p:txBody>
          <a:bodyPr/>
          <a:lstStyle>
            <a:lvl1pPr marL="180975" indent="-180975">
              <a:buFont typeface="Wingdings" panose="05000000000000000000" pitchFamily="2" charset="2"/>
              <a:buChar char="§"/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465433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4)/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12474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12474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198884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198884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285293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285293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371703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371703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4917367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5)/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12474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12474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198884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198884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285293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285293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371703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371703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84000" y="458112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2361600" y="458112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919252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6)/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12474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12474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198884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198884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285293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285293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371703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2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371703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84000" y="458112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2361600" y="458112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84000" y="5445224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2361600" y="5445224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094085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2)/Überschrif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55679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55679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242088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242088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378095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3)/Überschrif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55679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55679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242088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242088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329040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329040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4234354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4)/Überschrif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55679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55679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242088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242088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329040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329040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414908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414908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14219411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5)/Überschrif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55679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55679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242088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242088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329040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329040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414908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414908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84000" y="501317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2361600" y="501317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3449978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6)/Überschrif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2625" y="155679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60712" y="155679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2FF5EE7-AF54-4334-9133-611377E5B0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82625" y="2420888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80C47A0C-6BCA-48CB-947D-9B6663311EF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2360712" y="2420888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82625" y="329040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60712" y="329040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684000" y="4149080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61600" y="4149080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684000" y="5013176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2361600" y="5013176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646EB00C-B150-4A7D-9FB5-3277F54F1D5C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684000" y="5877272"/>
            <a:ext cx="1534071" cy="720080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4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1" name="Inhaltsplatzhalter 3">
            <a:extLst>
              <a:ext uri="{FF2B5EF4-FFF2-40B4-BE49-F238E27FC236}">
                <a16:creationId xmlns:a16="http://schemas.microsoft.com/office/drawing/2014/main" id="{C7AAFBD0-D757-45D6-9FB8-4C61E6355B91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2361600" y="5877272"/>
            <a:ext cx="6876000" cy="720000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>
            <a:noAutofit/>
          </a:bodyPr>
          <a:lstStyle>
            <a:lvl1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28900231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403246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B6C2E98F-9BD8-4ACA-8A17-EFD3ED5E0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2753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600" y="1556792"/>
            <a:ext cx="8640000" cy="4680000"/>
          </a:xfrm>
        </p:spPr>
        <p:txBody>
          <a:bodyPr/>
          <a:lstStyle>
            <a:lvl1pPr marL="180975" indent="-180975">
              <a:buFont typeface="Wingdings" panose="05000000000000000000" pitchFamily="2" charset="2"/>
              <a:buChar char="§"/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270FF1-B188-4C2F-A24B-B6A4485D1245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6C2E98F-9BD8-4ACA-8A17-EFD3ED5E0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96195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74167B2-0389-4EAC-91CE-ADFB00F78FB8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645992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32520" y="1124744"/>
            <a:ext cx="6165850" cy="3784600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B069C0-E4E5-46A0-8CFB-CC0C41F35031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04834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8504" y="155516"/>
            <a:ext cx="8420100" cy="6096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270FF1-B188-4C2F-A24B-B6A4485D1245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1638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5"/>
          <p:cNvSpPr>
            <a:spLocks noChangeArrowheads="1"/>
          </p:cNvSpPr>
          <p:nvPr userDrawn="1"/>
        </p:nvSpPr>
        <p:spPr bwMode="auto">
          <a:xfrm>
            <a:off x="7832725" y="188913"/>
            <a:ext cx="15827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8" name="Titelplatzhalter 5"/>
          <p:cNvSpPr>
            <a:spLocks noGrp="1"/>
          </p:cNvSpPr>
          <p:nvPr>
            <p:ph type="title"/>
          </p:nvPr>
        </p:nvSpPr>
        <p:spPr>
          <a:xfrm>
            <a:off x="1281113" y="222696"/>
            <a:ext cx="6408000" cy="860400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28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1"/>
          </p:nvPr>
        </p:nvSpPr>
        <p:spPr>
          <a:xfrm>
            <a:off x="1281114" y="1340769"/>
            <a:ext cx="3959999" cy="4525963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SzPct val="100000"/>
              <a:buFont typeface="Lucida Sans" pitchFamily="34" charset="0"/>
              <a:buChar char="•"/>
              <a:tabLst>
                <a:tab pos="358775" algn="l"/>
              </a:tabLst>
              <a:defRPr sz="2400"/>
            </a:lvl1pPr>
            <a:lvl2pPr marL="648000" indent="-288000">
              <a:lnSpc>
                <a:spcPct val="100000"/>
              </a:lnSpc>
              <a:spcAft>
                <a:spcPts val="600"/>
              </a:spcAft>
              <a:buClr>
                <a:srgbClr val="C5005A"/>
              </a:buClr>
              <a:buSzPct val="100000"/>
              <a:buFont typeface="Arial" pitchFamily="34" charset="0"/>
              <a:buChar char="–"/>
              <a:tabLst/>
              <a:defRPr sz="2000">
                <a:latin typeface="+mn-lt"/>
              </a:defRPr>
            </a:lvl2pPr>
            <a:lvl3pPr marL="625475" indent="179388">
              <a:tabLst/>
              <a:defRPr sz="1800">
                <a:latin typeface="+mn-lt"/>
              </a:defRPr>
            </a:lvl3pPr>
            <a:lvl4pPr marL="984250" indent="-180975">
              <a:buFont typeface="Lucida Sans" pitchFamily="34" charset="0"/>
              <a:buChar char="–"/>
              <a:defRPr lang="de-DE" sz="1800" i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4pPr>
            <a:lvl5pPr marL="1165225" indent="-180975">
              <a:buClr>
                <a:srgbClr val="C5005A"/>
              </a:buClr>
              <a:buFont typeface="Lucida Sans" pitchFamily="34" charset="0"/>
              <a:buChar char="–"/>
              <a:defRPr sz="1800">
                <a:latin typeface="+mn-lt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2"/>
          </p:nvPr>
        </p:nvSpPr>
        <p:spPr>
          <a:xfrm>
            <a:off x="5457056" y="1340769"/>
            <a:ext cx="3959999" cy="4525963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SzPct val="100000"/>
              <a:buFont typeface="Lucida Sans" pitchFamily="34" charset="0"/>
              <a:buChar char="•"/>
              <a:tabLst>
                <a:tab pos="358775" algn="l"/>
              </a:tabLst>
              <a:defRPr sz="2400"/>
            </a:lvl1pPr>
            <a:lvl2pPr marL="648000" indent="-288000">
              <a:lnSpc>
                <a:spcPct val="100000"/>
              </a:lnSpc>
              <a:spcAft>
                <a:spcPts val="600"/>
              </a:spcAft>
              <a:buClr>
                <a:srgbClr val="C5005A"/>
              </a:buClr>
              <a:buSzPct val="100000"/>
              <a:buFont typeface="Arial" pitchFamily="34" charset="0"/>
              <a:buChar char="–"/>
              <a:tabLst/>
              <a:defRPr sz="2000">
                <a:latin typeface="+mn-lt"/>
              </a:defRPr>
            </a:lvl2pPr>
            <a:lvl3pPr marL="625475" indent="179388">
              <a:tabLst/>
              <a:defRPr sz="1800">
                <a:latin typeface="+mn-lt"/>
              </a:defRPr>
            </a:lvl3pPr>
            <a:lvl4pPr marL="984250" indent="-180975">
              <a:buFont typeface="Lucida Sans" pitchFamily="34" charset="0"/>
              <a:buChar char="–"/>
              <a:defRPr lang="de-DE" sz="1800" i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4pPr>
            <a:lvl5pPr marL="1165225" indent="-180975">
              <a:buClr>
                <a:srgbClr val="C5005A"/>
              </a:buClr>
              <a:buFont typeface="Lucida Sans" pitchFamily="34" charset="0"/>
              <a:buChar char="–"/>
              <a:defRPr sz="1800">
                <a:latin typeface="+mn-lt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9450388" y="6553200"/>
            <a:ext cx="447675" cy="184150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8AA190-55CD-4578-9126-07323B3B1979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4088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352600" y="1412776"/>
            <a:ext cx="3888432" cy="427196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 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5048" y="1412776"/>
            <a:ext cx="3888432" cy="427196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</a:t>
            </a:r>
          </a:p>
          <a:p>
            <a:pPr lvl="0"/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 Vierte Ebene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8597900" y="6410325"/>
            <a:ext cx="1295400" cy="3206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610A90-33BC-4E44-BFC8-DBC69D812FAB}" type="datetime1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31313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.12.2020</a:t>
            </a:fld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31313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t>  |  </a:t>
            </a:r>
            <a:fld id="{3019C14C-7157-42EF-A641-8FA6D9A48BF3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131313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0340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0031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rrowheads="1"/>
          </p:cNvSpPr>
          <p:nvPr userDrawn="1"/>
        </p:nvSpPr>
        <p:spPr bwMode="auto">
          <a:xfrm>
            <a:off x="7832725" y="188913"/>
            <a:ext cx="1582738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513627" y="1124744"/>
            <a:ext cx="8783919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1"/>
          </p:nvPr>
        </p:nvSpPr>
        <p:spPr>
          <a:xfrm>
            <a:off x="513626" y="3068960"/>
            <a:ext cx="8782943" cy="2952328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Aft>
                <a:spcPts val="1200"/>
              </a:spcAft>
              <a:buClr>
                <a:srgbClr val="C00000"/>
              </a:buClr>
              <a:buSzPct val="100000"/>
              <a:buFont typeface="Lucida Sans" pitchFamily="34" charset="0"/>
              <a:buChar char="•"/>
              <a:tabLst>
                <a:tab pos="358775" algn="l"/>
              </a:tabLst>
              <a:defRPr sz="2400"/>
            </a:lvl1pPr>
            <a:lvl2pPr marL="648000" indent="-288000">
              <a:lnSpc>
                <a:spcPct val="100000"/>
              </a:lnSpc>
              <a:spcAft>
                <a:spcPts val="600"/>
              </a:spcAft>
              <a:buClr>
                <a:srgbClr val="C5005A"/>
              </a:buClr>
              <a:buSzPct val="100000"/>
              <a:buFont typeface="Arial" pitchFamily="34" charset="0"/>
              <a:buChar char="–"/>
              <a:tabLst/>
              <a:defRPr sz="2000">
                <a:latin typeface="+mn-lt"/>
              </a:defRPr>
            </a:lvl2pPr>
            <a:lvl3pPr marL="625475" indent="179388">
              <a:tabLst/>
              <a:defRPr sz="1800">
                <a:latin typeface="+mn-lt"/>
              </a:defRPr>
            </a:lvl3pPr>
            <a:lvl4pPr marL="984250" indent="-180975">
              <a:buClr>
                <a:srgbClr val="C5005A"/>
              </a:buClr>
              <a:buFont typeface="Lucida Sans" pitchFamily="34" charset="0"/>
              <a:buChar char="–"/>
              <a:defRPr sz="1800" i="0">
                <a:latin typeface="+mn-lt"/>
              </a:defRPr>
            </a:lvl4pPr>
            <a:lvl5pPr marL="1165225" indent="-180975">
              <a:buClr>
                <a:srgbClr val="C5005A"/>
              </a:buClr>
              <a:buFont typeface="Lucida Sans" pitchFamily="34" charset="0"/>
              <a:buChar char="–"/>
              <a:defRPr sz="1800">
                <a:latin typeface="+mn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platzhalter 5"/>
          <p:cNvSpPr>
            <a:spLocks noGrp="1"/>
          </p:cNvSpPr>
          <p:nvPr>
            <p:ph type="title"/>
          </p:nvPr>
        </p:nvSpPr>
        <p:spPr>
          <a:xfrm>
            <a:off x="1281113" y="222696"/>
            <a:ext cx="6408000" cy="860400"/>
          </a:xfrm>
          <a:prstGeom prst="rect">
            <a:avLst/>
          </a:prstGeom>
        </p:spPr>
        <p:txBody>
          <a:bodyPr rtlCol="0" anchor="t">
            <a:normAutofit/>
          </a:bodyPr>
          <a:lstStyle>
            <a:lvl1pPr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idx="12"/>
          </p:nvPr>
        </p:nvSpPr>
        <p:spPr>
          <a:xfrm>
            <a:off x="513627" y="1916832"/>
            <a:ext cx="8783919" cy="93610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3"/>
          </p:nvPr>
        </p:nvSpPr>
        <p:spPr>
          <a:xfrm>
            <a:off x="9450388" y="6553200"/>
            <a:ext cx="447675" cy="184150"/>
          </a:xfrm>
          <a:prstGeom prst="rect">
            <a:avLst/>
          </a:prstGeom>
        </p:spPr>
        <p:txBody>
          <a:bodyPr/>
          <a:lstStyle>
            <a:lvl1pPr algn="l" eaLnBrk="1" hangingPunct="1">
              <a:defRPr sz="900">
                <a:solidFill>
                  <a:srgbClr val="000000"/>
                </a:solidFill>
                <a:latin typeface="Lucida Sans" pitchFamily="34" charset="0"/>
                <a:ea typeface="+mn-ea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DE2FFC9-378F-4694-8134-2BEBA6FADE15}" type="slidenum">
              <a:rPr kumimoji="0" lang="de-DE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ucida Sans" pitchFamily="34" charset="0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ucida Sans" pitchFamily="34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886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54BDF82-3AA7-4A38-8255-02D20388B78D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612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bildung Breite 1, Höh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r>
              <a:rPr lang="de-DE" sz="400" dirty="0">
                <a:solidFill>
                  <a:schemeClr val="bg1"/>
                </a:solidFill>
                <a:latin typeface="+mj-lt"/>
              </a:rPr>
              <a:t>Copyright © 2012 Schäffer-Poeschel Verlag für Wirtschaft · Steuern · Recht GmbH</a:t>
            </a:r>
          </a:p>
          <a:p>
            <a:endParaRPr lang="de-DE" sz="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687600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/>
            <a:endParaRPr lang="de-DE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6876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13716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/>
            <a:endParaRPr lang="de-DE" dirty="0"/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16002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6876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588610" y="6842618"/>
            <a:ext cx="317395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/>
            <a:r>
              <a:rPr lang="de-DE" sz="100" dirty="0">
                <a:solidFill>
                  <a:schemeClr val="bg1"/>
                </a:solidFill>
                <a:latin typeface="+mn-lt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3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r>
              <a:rPr lang="de-DE" sz="400" noProof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pyright © Schäffer-Poeschel Verlag für Wirtschaft · Steuern · Recht GmbH</a:t>
            </a:r>
          </a:p>
          <a:p>
            <a:endParaRPr lang="de-DE" sz="400" noProof="1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11939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7"/>
            <a:ext cx="317395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l"/>
            <a:r>
              <a:rPr lang="de-DE" sz="100" dirty="0">
                <a:solidFill>
                  <a:schemeClr val="tx2"/>
                </a:solidFill>
                <a:latin typeface="+mn-lt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76500" y="1602001"/>
            <a:ext cx="71838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/>
            <a:endParaRPr lang="de-DE" dirty="0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>
          <a:xfrm>
            <a:off x="1" y="457201"/>
            <a:ext cx="990600" cy="4572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>
          <a:xfrm>
            <a:off x="2476500" y="113604"/>
            <a:ext cx="6193200" cy="217596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1601999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726100" y="2286000"/>
            <a:ext cx="66885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/>
            <a:endParaRPr lang="de-DE" dirty="0"/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2516400"/>
            <a:ext cx="61932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5,88/17,15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1744687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124744"/>
            <a:ext cx="4212000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2625" y="1846360"/>
            <a:ext cx="4212000" cy="3684588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6675CD-AB63-4361-9EEB-476D64ACA8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124744"/>
            <a:ext cx="4211637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6685734-76DF-43EC-BD96-7781886C616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1846360"/>
            <a:ext cx="4211637" cy="3684588"/>
          </a:xfrm>
          <a:solidFill>
            <a:srgbClr val="C5C7C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lang="de-DE" sz="1400" dirty="0" smtClean="0"/>
            </a:lvl1pPr>
            <a:lvl2pPr marL="361950" indent="-171450">
              <a:buFont typeface="Symbol" panose="05050102010706020507" pitchFamily="18" charset="2"/>
              <a:buChar char="-"/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988239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1240200" y="1605598"/>
            <a:ext cx="84201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0080C8">
                  <a:lumMod val="20000"/>
                  <a:lumOff val="8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0" y="1602002"/>
            <a:ext cx="5955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485900" y="2286000"/>
            <a:ext cx="79248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2516400"/>
            <a:ext cx="74295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9,05/20,32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1706559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1270FF1-B188-4C2F-A24B-B6A4485D1245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8333801E-7080-43F4-8DB6-9BBFD3AA3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600" y="1125264"/>
            <a:ext cx="8640000" cy="4680000"/>
          </a:xfrm>
        </p:spPr>
        <p:txBody>
          <a:bodyPr/>
          <a:lstStyle>
            <a:lvl1pPr marL="180975" indent="-180975">
              <a:buFont typeface="Wingdings" panose="05000000000000000000" pitchFamily="2" charset="2"/>
              <a:buChar char="§"/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534424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243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Obertitel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1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453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000390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496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476500" y="1371602"/>
            <a:ext cx="7429500" cy="18288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2971802" y="1371600"/>
            <a:ext cx="6438900" cy="914400"/>
          </a:xfrm>
        </p:spPr>
        <p:txBody>
          <a:bodyPr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i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71801" y="2286002"/>
            <a:ext cx="6438900" cy="9144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180727" indent="0">
              <a:buNone/>
              <a:defRPr/>
            </a:lvl2pPr>
            <a:lvl3pPr marL="363053" indent="0">
              <a:buNone/>
              <a:defRPr/>
            </a:lvl3pPr>
            <a:lvl4pPr marL="543779" indent="0">
              <a:buNone/>
              <a:defRPr/>
            </a:lvl4pPr>
            <a:lvl5pPr marL="726106" indent="0">
              <a:buNone/>
              <a:defRPr/>
            </a:lvl5pPr>
          </a:lstStyle>
          <a:p>
            <a:pPr lvl="0"/>
            <a:r>
              <a:rPr lang="de-DE" dirty="0"/>
              <a:t>Bezeichnung</a:t>
            </a:r>
          </a:p>
        </p:txBody>
      </p:sp>
    </p:spTree>
    <p:extLst>
      <p:ext uri="{BB962C8B-B14F-4D97-AF65-F5344CB8AC3E}">
        <p14:creationId xmlns:p14="http://schemas.microsoft.com/office/powerpoint/2010/main" val="27164233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485900" y="2516400"/>
            <a:ext cx="1981200" cy="9144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buNone/>
              <a:defRPr sz="9600" b="1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2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16701" y="2516400"/>
            <a:ext cx="4457700" cy="914400"/>
          </a:xfrm>
        </p:spPr>
        <p:txBody>
          <a:bodyPr bIns="0" anchor="b" anchorCtr="0"/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598319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navig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18" name="Tabellenplatzhalter 17"/>
          <p:cNvSpPr>
            <a:spLocks noGrp="1"/>
          </p:cNvSpPr>
          <p:nvPr userDrawn="1">
            <p:ph type="tbl" sz="quarter" idx="15"/>
          </p:nvPr>
        </p:nvSpPr>
        <p:spPr>
          <a:xfrm>
            <a:off x="495300" y="914400"/>
            <a:ext cx="8915400" cy="5486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Tabelle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2304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Kapitelnavigator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587854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95882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3467100" y="1371600"/>
            <a:ext cx="61932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3403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2286000"/>
            <a:ext cx="7183800" cy="434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49600" y="2286000"/>
            <a:ext cx="1981200" cy="43452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10040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556792"/>
            <a:ext cx="4212000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2625" y="2276872"/>
            <a:ext cx="4212000" cy="3684588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6675CD-AB63-4361-9EEB-476D64ACA8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556792"/>
            <a:ext cx="4211637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6685734-76DF-43EC-BD96-7781886C6163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5014913" y="2276872"/>
            <a:ext cx="4211637" cy="3684588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180000" tIns="180000" rIns="180000" bIns="180000" rtlCol="0"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lang="de-DE" sz="1400" dirty="0" smtClean="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lang="de-DE" sz="1400" dirty="0" smtClean="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lang="de-DE" sz="1400" dirty="0" smtClean="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lang="de-DE" sz="1400" dirty="0" smtClean="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lang="de-DE" sz="1400" dirty="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38FEBDC9-6CB1-418D-B93B-481CBD96CC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0472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14990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überschrif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1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192644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230402"/>
            <a:ext cx="71838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92375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3467100" y="230402"/>
            <a:ext cx="61932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479392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230402"/>
            <a:ext cx="94107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2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84662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76500" y="1602001"/>
            <a:ext cx="71838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1601999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726100" y="2286000"/>
            <a:ext cx="66885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2516400"/>
            <a:ext cx="61932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5,88/17,15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24947358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1240200" y="1605598"/>
            <a:ext cx="84201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0" y="1602002"/>
            <a:ext cx="5955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485900" y="2286000"/>
            <a:ext cx="79248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2516400"/>
            <a:ext cx="74295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9,05/20,32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2805377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602001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19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64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18230372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2516401"/>
            <a:ext cx="9410700" cy="411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5163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3200400"/>
            <a:ext cx="8915400" cy="3200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3430800"/>
            <a:ext cx="8420100" cy="2743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7,62/8,89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25163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0431493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598400"/>
            <a:ext cx="9410700" cy="5259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20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572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2800"/>
            <a:ext cx="8420100" cy="4345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2,07 x 21,59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248356767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76500" y="230404"/>
            <a:ext cx="71838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230406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726100" y="914400"/>
            <a:ext cx="66885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1144800"/>
            <a:ext cx="61932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5,88/17,1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41633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58000" y="1124744"/>
            <a:ext cx="6999312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58000" y="1846360"/>
            <a:ext cx="6999312" cy="3684588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620166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1240200" y="230404"/>
            <a:ext cx="84201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2" y="230402"/>
            <a:ext cx="59436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1485900" y="914400"/>
            <a:ext cx="79248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1155600"/>
            <a:ext cx="74295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9,05/20,3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1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76562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4"/>
            <a:ext cx="94107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4800"/>
            <a:ext cx="84201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39311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687600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6876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13716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16002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6876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104507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1375204"/>
            <a:ext cx="9410700" cy="365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3752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057400"/>
            <a:ext cx="8915400" cy="27432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286000"/>
            <a:ext cx="8420100" cy="22860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6,35/7,62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13752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75904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059200"/>
            <a:ext cx="9410700" cy="228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0592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743200"/>
            <a:ext cx="8915400" cy="1371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2971800"/>
            <a:ext cx="8420100" cy="9144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2,54/3,8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0592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258819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1, Höh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286000"/>
            <a:ext cx="9410700" cy="1828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286000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2971800"/>
            <a:ext cx="8915400" cy="914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2950" y="3313800"/>
            <a:ext cx="8420100" cy="457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,27/2,54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286000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08867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9602" y="230402"/>
            <a:ext cx="9410700" cy="662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304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495300" y="914400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1141200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229986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0669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1"/>
            <a:ext cx="8915400" cy="582022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6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</p:spTree>
    <p:extLst>
      <p:ext uri="{BB962C8B-B14F-4D97-AF65-F5344CB8AC3E}">
        <p14:creationId xmlns:p14="http://schemas.microsoft.com/office/powerpoint/2010/main" val="40394668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617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59436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"/>
            <a:ext cx="8420100" cy="57168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5,88/16,51 x 21,59/22,86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249602" y="6174000"/>
            <a:ext cx="9410700" cy="4572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de-DE" noProof="1"/>
              <a:t>Fortsetzung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8006799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bbildung For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9602" y="0"/>
            <a:ext cx="9410700" cy="7213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5300" y="2"/>
            <a:ext cx="8915400" cy="7213598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3555237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5F77A1-3B6B-4B85-9747-D8B76F9A9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58000" y="1555200"/>
            <a:ext cx="6999312" cy="648072"/>
          </a:xfrm>
          <a:solidFill>
            <a:srgbClr val="00347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1800" b="1">
                <a:ln>
                  <a:noFill/>
                </a:ln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DC2051-33D5-49B3-95E4-878CA1824D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458000" y="2276872"/>
            <a:ext cx="6999312" cy="3684588"/>
          </a:xfrm>
          <a:solidFill>
            <a:srgbClr val="C5C7C8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>
            <a:normAutofit/>
          </a:bodyPr>
          <a:lstStyle>
            <a:lvl1pPr marL="182563" indent="-182563">
              <a:buFont typeface="Wingdings" panose="05000000000000000000" pitchFamily="2" charset="2"/>
              <a:buChar char="§"/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61950" indent="-171450">
              <a:buFont typeface="Symbol" panose="05050102010706020507" pitchFamily="18" charset="2"/>
              <a:buChar char="-"/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4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E46211B-E1C4-4D58-B441-18241A0B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6246046-52F3-4090-9EE9-896330765AC6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550821E-D87C-4750-A9E2-603FB8F83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D912AE89-F423-4F63-81D2-BA7DB82EFE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1504" y="864000"/>
            <a:ext cx="9288000" cy="370800"/>
          </a:xfrm>
          <a:noFill/>
        </p:spPr>
        <p:txBody>
          <a:bodyPr wrap="square" rtlCol="0">
            <a:noAutofit/>
          </a:bodyPr>
          <a:lstStyle>
            <a:lvl1pPr marL="0" indent="0">
              <a:buNone/>
              <a:defRPr lang="de-DE" sz="1800" kern="1200" smtClean="0">
                <a:solidFill>
                  <a:srgbClr val="003479"/>
                </a:solidFill>
                <a:latin typeface="+mn-lt"/>
                <a:ea typeface="ＭＳ Ｐゴシック" pitchFamily="1" charset="-128"/>
                <a:cs typeface="+mn-cs"/>
              </a:defRPr>
            </a:lvl1pPr>
            <a:lvl2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>
              <a:defRPr lang="de-DE" kern="1200" smtClean="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>
              <a:defRPr lang="de-DE" kern="1200">
                <a:solidFill>
                  <a:srgbClr val="131313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</a:lstStyle>
          <a:p>
            <a:pPr lvl="0">
              <a:spcBef>
                <a:spcPct val="40000"/>
              </a:spcBef>
            </a:pPr>
            <a:r>
              <a:rPr lang="de-DE" dirty="0"/>
              <a:t>Überschrift</a:t>
            </a:r>
          </a:p>
          <a:p>
            <a:pPr lvl="0">
              <a:spcBef>
                <a:spcPct val="4000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94142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_zweiseitig_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245700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491400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6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3710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2" name="Titel 1" descr="test"/>
          <p:cNvSpPr>
            <a:spLocks noGrp="1"/>
          </p:cNvSpPr>
          <p:nvPr>
            <p:ph type="title" hasCustomPrompt="1"/>
          </p:nvPr>
        </p:nvSpPr>
        <p:spPr>
          <a:xfrm>
            <a:off x="491400" y="230402"/>
            <a:ext cx="9410700" cy="687600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Legend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884201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Fortsetzung 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2" y="230402"/>
            <a:ext cx="9660300" cy="6400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" y="230402"/>
            <a:ext cx="94107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" y="914400"/>
            <a:ext cx="94107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" y="1144800"/>
            <a:ext cx="91650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 x 23,5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32014176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rtschaftsprax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feld 10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17" name="Rechteck 16"/>
          <p:cNvSpPr/>
          <p:nvPr userDrawn="1"/>
        </p:nvSpPr>
        <p:spPr>
          <a:xfrm flipH="1"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48300" y="2304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 algn="ctr"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Wirtschaftspraxis XX-XX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/>
          </p:nvPr>
        </p:nvSpPr>
        <p:spPr>
          <a:xfrm>
            <a:off x="1361100" y="1461600"/>
            <a:ext cx="7183800" cy="4345200"/>
          </a:xfrm>
        </p:spPr>
        <p:txBody>
          <a:bodyPr anchor="ctr" anchorCtr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715408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  <p:sp>
        <p:nvSpPr>
          <p:cNvPr id="9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4953000" y="457202"/>
            <a:ext cx="47073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64743983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ispiel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4572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Fallbeispiel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  <p:sp>
        <p:nvSpPr>
          <p:cNvPr id="8" name="Inhaltsplatzhalter 4"/>
          <p:cNvSpPr>
            <a:spLocks noGrp="1"/>
          </p:cNvSpPr>
          <p:nvPr>
            <p:ph sz="quarter" idx="19" hasCustomPrompt="1"/>
          </p:nvPr>
        </p:nvSpPr>
        <p:spPr>
          <a:xfrm>
            <a:off x="2726102" y="457202"/>
            <a:ext cx="6934200" cy="457200"/>
          </a:xfrm>
        </p:spPr>
        <p:txBody>
          <a:bodyPr anchor="ctr" anchorCtr="0"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5318101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0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76500" y="1828802"/>
            <a:ext cx="71838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18,42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76500" y="13752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828802"/>
            <a:ext cx="1981200" cy="48024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52462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llstudie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5428802" y="914400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wischenübung Kapitel X-X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 hasCustomPrompt="1"/>
          </p:nvPr>
        </p:nvSpPr>
        <p:spPr>
          <a:xfrm>
            <a:off x="249602" y="1828802"/>
            <a:ext cx="9410700" cy="48024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/>
            </a:lvl1pPr>
          </a:lstStyle>
          <a:p>
            <a:pPr lvl="0" eaLnBrk="1" latinLnBrk="0" hangingPunct="1"/>
            <a:r>
              <a:rPr kumimoji="0" lang="de-DE" dirty="0"/>
              <a:t>24,13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cxnSp>
        <p:nvCxnSpPr>
          <p:cNvPr id="3" name="Gerade Verbindung 2"/>
          <p:cNvCxnSpPr/>
          <p:nvPr userDrawn="1"/>
        </p:nvCxnSpPr>
        <p:spPr>
          <a:xfrm flipV="1">
            <a:off x="249602" y="13752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7360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76500" y="914400"/>
            <a:ext cx="71838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145340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Üb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0" y="1371600"/>
            <a:ext cx="94107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428800" y="457202"/>
            <a:ext cx="42315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1">
            <a:noAutofit/>
          </a:bodyPr>
          <a:lstStyle>
            <a:lvl1pPr algn="ctr">
              <a:defRPr lang="de-DE" sz="200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Zusatzübung X-X 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cxnSp>
        <p:nvCxnSpPr>
          <p:cNvPr id="6" name="Gerade Verbindung 5"/>
          <p:cNvCxnSpPr/>
          <p:nvPr userDrawn="1"/>
        </p:nvCxnSpPr>
        <p:spPr>
          <a:xfrm flipV="1">
            <a:off x="249600" y="914400"/>
            <a:ext cx="94107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95301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ss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499" y="3200400"/>
            <a:ext cx="7183800" cy="3430800"/>
          </a:xfrm>
        </p:spPr>
        <p:txBody>
          <a:bodyPr/>
          <a:lstStyle>
            <a:lvl1pPr marL="0" indent="0">
              <a:buNone/>
              <a:defRPr sz="4800" b="0">
                <a:solidFill>
                  <a:schemeClr val="bg2"/>
                </a:solidFill>
              </a:defRPr>
            </a:lvl1pPr>
            <a:lvl2pPr marL="180758" indent="0">
              <a:buNone/>
              <a:defRPr b="0">
                <a:solidFill>
                  <a:schemeClr val="bg2"/>
                </a:solidFill>
              </a:defRPr>
            </a:lvl2pPr>
            <a:lvl3pPr marL="363112" indent="0">
              <a:buNone/>
              <a:defRPr b="0">
                <a:solidFill>
                  <a:schemeClr val="bg2"/>
                </a:solidFill>
              </a:defRPr>
            </a:lvl3pPr>
            <a:lvl4pPr marL="543871" indent="0">
              <a:buNone/>
              <a:defRPr b="0">
                <a:solidFill>
                  <a:schemeClr val="bg2"/>
                </a:solidFill>
              </a:defRPr>
            </a:lvl4pPr>
            <a:lvl5pPr marL="726226" indent="0">
              <a:buNone/>
              <a:defRPr b="0">
                <a:solidFill>
                  <a:schemeClr val="bg2"/>
                </a:solidFill>
              </a:defRPr>
            </a:lvl5pPr>
          </a:lstStyle>
          <a:p>
            <a:pPr lvl="0"/>
            <a:r>
              <a:rPr lang="de-DE" dirty="0"/>
              <a:t>Passwor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516400"/>
            <a:ext cx="7183800" cy="457200"/>
          </a:xfrm>
        </p:spPr>
        <p:txBody>
          <a:bodyPr/>
          <a:lstStyle>
            <a:lvl1pPr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sswort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4588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1247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992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6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270296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12561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2084388" y="13227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400" y="2190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880641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60304231"/>
              </p:ext>
            </p:extLst>
          </p:nvPr>
        </p:nvGraphicFramePr>
        <p:xfrm>
          <a:off x="0" y="0"/>
          <a:ext cx="9906000" cy="68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5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9060" marR="9906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13772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07296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Obertitel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1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453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718926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496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476500" y="1371602"/>
            <a:ext cx="7429500" cy="18288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2971802" y="1371600"/>
            <a:ext cx="6438900" cy="914400"/>
          </a:xfrm>
        </p:spPr>
        <p:txBody>
          <a:bodyPr anchor="b" anchorCtr="0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ei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971801" y="2286002"/>
            <a:ext cx="6438900" cy="9144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180727" indent="0">
              <a:buNone/>
              <a:defRPr/>
            </a:lvl2pPr>
            <a:lvl3pPr marL="363053" indent="0">
              <a:buNone/>
              <a:defRPr/>
            </a:lvl3pPr>
            <a:lvl4pPr marL="543779" indent="0">
              <a:buNone/>
              <a:defRPr/>
            </a:lvl4pPr>
            <a:lvl5pPr marL="726106" indent="0">
              <a:buNone/>
              <a:defRPr/>
            </a:lvl5pPr>
          </a:lstStyle>
          <a:p>
            <a:pPr lvl="0"/>
            <a:r>
              <a:rPr lang="de-DE" dirty="0"/>
              <a:t>Bezeichnung</a:t>
            </a:r>
          </a:p>
        </p:txBody>
      </p:sp>
    </p:spTree>
    <p:extLst>
      <p:ext uri="{BB962C8B-B14F-4D97-AF65-F5344CB8AC3E}">
        <p14:creationId xmlns:p14="http://schemas.microsoft.com/office/powerpoint/2010/main" val="23591328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485900" y="2516400"/>
            <a:ext cx="1981200" cy="9144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buNone/>
              <a:defRPr sz="9600" b="1">
                <a:solidFill>
                  <a:schemeClr val="tx2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12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16701" y="2516400"/>
            <a:ext cx="4457700" cy="914400"/>
          </a:xfrm>
        </p:spPr>
        <p:txBody>
          <a:bodyPr bIns="0" anchor="b" anchorCtr="0"/>
          <a:lstStyle>
            <a:lvl1pPr>
              <a:lnSpc>
                <a:spcPct val="80000"/>
              </a:lnSpc>
              <a:defRPr sz="28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34975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navig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9602" y="687600"/>
            <a:ext cx="9410700" cy="5943600"/>
          </a:xfrm>
          <a:custGeom>
            <a:avLst/>
            <a:gdLst/>
            <a:ahLst/>
            <a:cxnLst/>
            <a:rect l="l" t="t" r="r" b="b"/>
            <a:pathLst>
              <a:path w="8686800" h="5943600">
                <a:moveTo>
                  <a:pt x="0" y="0"/>
                </a:moveTo>
                <a:lnTo>
                  <a:pt x="502413" y="0"/>
                </a:lnTo>
                <a:lnTo>
                  <a:pt x="1080000" y="0"/>
                </a:lnTo>
                <a:lnTo>
                  <a:pt x="8184387" y="0"/>
                </a:lnTo>
                <a:cubicBezTo>
                  <a:pt x="8461862" y="0"/>
                  <a:pt x="8686800" y="224938"/>
                  <a:pt x="8686800" y="502413"/>
                </a:cubicBezTo>
                <a:lnTo>
                  <a:pt x="8686800" y="5441187"/>
                </a:lnTo>
                <a:cubicBezTo>
                  <a:pt x="8686800" y="5718662"/>
                  <a:pt x="8461862" y="5943600"/>
                  <a:pt x="8184387" y="5943600"/>
                </a:cubicBezTo>
                <a:lnTo>
                  <a:pt x="502413" y="5943600"/>
                </a:lnTo>
                <a:cubicBezTo>
                  <a:pt x="224938" y="5943600"/>
                  <a:pt x="0" y="5718662"/>
                  <a:pt x="0" y="5441187"/>
                </a:cubicBezTo>
                <a:lnTo>
                  <a:pt x="0" y="1080000"/>
                </a:lnTo>
                <a:lnTo>
                  <a:pt x="0" y="50241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9" tIns="45705" rIns="91409" bIns="45705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18" name="Tabellenplatzhalter 17"/>
          <p:cNvSpPr>
            <a:spLocks noGrp="1"/>
          </p:cNvSpPr>
          <p:nvPr userDrawn="1">
            <p:ph type="tbl" sz="quarter" idx="15"/>
          </p:nvPr>
        </p:nvSpPr>
        <p:spPr>
          <a:xfrm>
            <a:off x="495300" y="914400"/>
            <a:ext cx="8915400" cy="5486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Tabelle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9600" y="230402"/>
            <a:ext cx="2230800" cy="457200"/>
          </a:xfr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lvl1pPr>
              <a:defRPr lang="de-DE" sz="2000" dirty="0">
                <a:solidFill>
                  <a:schemeClr val="lt1"/>
                </a:solidFill>
                <a:ea typeface="+mn-ea"/>
                <a:cs typeface="+mn-cs"/>
              </a:defRPr>
            </a:lvl1pPr>
          </a:lstStyle>
          <a:p>
            <a:pPr marL="0" lvl="0" algn="ctr" defTabSz="913762"/>
            <a:r>
              <a:rPr lang="de-DE" dirty="0"/>
              <a:t>Kapitelnavigator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888023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64228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3467100" y="1371600"/>
            <a:ext cx="61932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775131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21" name="Textplatzhalter 12"/>
          <p:cNvSpPr>
            <a:spLocks noGrp="1"/>
          </p:cNvSpPr>
          <p:nvPr>
            <p:ph idx="1"/>
          </p:nvPr>
        </p:nvSpPr>
        <p:spPr>
          <a:xfrm>
            <a:off x="2476500" y="2286000"/>
            <a:ext cx="7183800" cy="43452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/>
              <a:t>Textmasterformat bearbeiten</a:t>
            </a:r>
          </a:p>
          <a:p>
            <a:pPr lvl="1" eaLnBrk="1" latinLnBrk="0" hangingPunct="1"/>
            <a:r>
              <a:rPr kumimoji="0" lang="de-DE"/>
              <a:t>Zweite Ebene</a:t>
            </a:r>
          </a:p>
          <a:p>
            <a:pPr lvl="2" eaLnBrk="1" latinLnBrk="0" hangingPunct="1"/>
            <a:r>
              <a:rPr kumimoji="0" lang="de-DE"/>
              <a:t>Dritte Ebene</a:t>
            </a:r>
          </a:p>
          <a:p>
            <a:pPr lvl="3" eaLnBrk="1" latinLnBrk="0" hangingPunct="1"/>
            <a:r>
              <a:rPr kumimoji="0" lang="de-DE"/>
              <a:t>Vierte Ebene</a:t>
            </a:r>
          </a:p>
          <a:p>
            <a:pPr lvl="4" eaLnBrk="1" latinLnBrk="0" hangingPunct="1"/>
            <a:r>
              <a:rPr kumimoji="0" lang="de-DE"/>
              <a:t>Fünfte Ebene</a:t>
            </a:r>
            <a:endParaRPr kumimoji="0"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249600" y="2286000"/>
            <a:ext cx="1981200" cy="43452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75196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nter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1371600"/>
            <a:ext cx="7183800" cy="52596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476500" y="230402"/>
            <a:ext cx="7183800" cy="914400"/>
          </a:xfrm>
        </p:spPr>
        <p:txBody>
          <a:bodyPr/>
          <a:lstStyle>
            <a:lvl1pPr>
              <a:defRPr sz="22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Zwischenüberschrif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1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1371600"/>
            <a:ext cx="1981200" cy="52596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104248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>
          <a:xfrm>
            <a:off x="7113588" y="6669088"/>
            <a:ext cx="42545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AC71C47-59E1-4D81-88C8-B0C7EBCA0220}" type="slidenum">
              <a:rPr kumimoji="0" lang="de-DE" sz="800" b="1" i="0" u="none" strike="noStrike" kern="1200" cap="none" spc="0" normalizeH="0" baseline="0" noProof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129600" y="169200"/>
            <a:ext cx="84201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8" name="Rectangle 4">
            <a:extLst>
              <a:ext uri="{FF2B5EF4-FFF2-40B4-BE49-F238E27FC236}">
                <a16:creationId xmlns:a16="http://schemas.microsoft.com/office/drawing/2014/main" id="{623000FC-C88C-4886-BE19-5B869F901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1247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:a16="http://schemas.microsoft.com/office/drawing/2014/main" id="{463FA06A-B6C7-4F5C-9955-76E0B10BC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1992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4" name="Rectangle 10">
            <a:extLst>
              <a:ext uri="{FF2B5EF4-FFF2-40B4-BE49-F238E27FC236}">
                <a16:creationId xmlns:a16="http://schemas.microsoft.com/office/drawing/2014/main" id="{2A976AA4-BB9D-4E1E-A007-8EDC2DADF3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5812" y="2856344"/>
            <a:ext cx="6062662" cy="72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6" name="AutoShape 15">
            <a:extLst>
              <a:ext uri="{FF2B5EF4-FFF2-40B4-BE49-F238E27FC236}">
                <a16:creationId xmlns:a16="http://schemas.microsoft.com/office/drawing/2014/main" id="{9749A68D-1B61-40B4-9D19-F748F62B8B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1270296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AA046F6B-9B97-4D11-95D6-4480142D75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12561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48" name="AutoShape 17">
            <a:extLst>
              <a:ext uri="{FF2B5EF4-FFF2-40B4-BE49-F238E27FC236}">
                <a16:creationId xmlns:a16="http://schemas.microsoft.com/office/drawing/2014/main" id="{E176A7A5-935C-4E32-898E-F383DB50533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8624" y="2995561"/>
            <a:ext cx="468313" cy="434975"/>
          </a:xfrm>
          <a:prstGeom prst="rightArrow">
            <a:avLst>
              <a:gd name="adj1" fmla="val 44528"/>
              <a:gd name="adj2" fmla="val 51096"/>
            </a:avLst>
          </a:prstGeom>
          <a:solidFill>
            <a:srgbClr val="00347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2084388" y="13227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2" hasCustomPrompt="1"/>
          </p:nvPr>
        </p:nvSpPr>
        <p:spPr>
          <a:xfrm>
            <a:off x="2084400" y="2190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3" hasCustomPrompt="1"/>
          </p:nvPr>
        </p:nvSpPr>
        <p:spPr>
          <a:xfrm>
            <a:off x="2084400" y="3054344"/>
            <a:ext cx="5760000" cy="305900"/>
          </a:xfrm>
        </p:spPr>
        <p:txBody>
          <a:bodyPr lIns="0" tIns="0" rIns="0" bIns="0" anchor="ctr" anchorCtr="0"/>
          <a:lstStyle>
            <a:lvl1pPr>
              <a:defRPr sz="14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345422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76500" y="230402"/>
            <a:ext cx="71838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07913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3467100" y="230402"/>
            <a:ext cx="61932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18,42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0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49600" y="230402"/>
            <a:ext cx="1981200" cy="6400800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  <a:lvl2pPr marL="180758" indent="0">
              <a:buNone/>
              <a:defRPr>
                <a:solidFill>
                  <a:schemeClr val="tx2"/>
                </a:solidFill>
              </a:defRPr>
            </a:lvl2pPr>
            <a:lvl3pPr marL="363112" indent="0">
              <a:buNone/>
              <a:defRPr>
                <a:solidFill>
                  <a:schemeClr val="tx2"/>
                </a:solidFill>
              </a:defRPr>
            </a:lvl3pPr>
            <a:lvl4pPr marL="543871" indent="0">
              <a:buNone/>
              <a:defRPr>
                <a:solidFill>
                  <a:schemeClr val="tx2"/>
                </a:solidFill>
              </a:defRPr>
            </a:lvl4pPr>
            <a:lvl5pPr marL="726226" indent="0"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feld 7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77976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Fortsetzung_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8" hasCustomPrompt="1"/>
          </p:nvPr>
        </p:nvSpPr>
        <p:spPr>
          <a:xfrm>
            <a:off x="249602" y="230402"/>
            <a:ext cx="9410700" cy="64008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24,13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679102" y="230402"/>
            <a:ext cx="1981200" cy="45720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rtsetzungsseit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477852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2476500" y="1602001"/>
            <a:ext cx="71838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1601999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726100" y="2286000"/>
            <a:ext cx="66885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2516400"/>
            <a:ext cx="61932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5,88/17,15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41846706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1240200" y="1605598"/>
            <a:ext cx="84201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0" y="1602002"/>
            <a:ext cx="5955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485900" y="2286000"/>
            <a:ext cx="79248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2516400"/>
            <a:ext cx="74295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19,05/20,32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</p:spTree>
    <p:extLst>
      <p:ext uri="{BB962C8B-B14F-4D97-AF65-F5344CB8AC3E}">
        <p14:creationId xmlns:p14="http://schemas.microsoft.com/office/powerpoint/2010/main" val="21917301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602001"/>
            <a:ext cx="9410700" cy="50292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19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1148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6400"/>
            <a:ext cx="8420100" cy="36576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0,16/11,43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19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2593390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Untertitel &amp; Abbildung Br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2516401"/>
            <a:ext cx="9410700" cy="41148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2516399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3200400"/>
            <a:ext cx="8915400" cy="3200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3430800"/>
            <a:ext cx="8420100" cy="2743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7,62/8,89 x 21,59/22,86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2516399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2476500" y="1371600"/>
            <a:ext cx="7183800" cy="914400"/>
          </a:xfrm>
        </p:spPr>
        <p:txBody>
          <a:bodyPr vert="horz" lIns="0" tIns="0" rIns="0" bIns="0" anchor="ctr" anchorCtr="0">
            <a:noAutofit/>
          </a:bodyPr>
          <a:lstStyle>
            <a:lvl1pPr marL="0" indent="0">
              <a:buNone/>
              <a:defRPr lang="de-DE" sz="2600" b="1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>
              <a:spcBef>
                <a:spcPct val="0"/>
              </a:spcBef>
            </a:pPr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6884903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Abbildung zweisei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249602" y="1598400"/>
            <a:ext cx="9410700" cy="5259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7B6B0BC-064C-44E6-A0B4-831DDF958046}" type="slidenum">
              <a:rPr lang="de-DE" smtClean="0">
                <a:solidFill>
                  <a:srgbClr val="0080C8"/>
                </a:solidFill>
              </a:rPr>
              <a:pPr/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602002"/>
            <a:ext cx="69342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495300" y="2286000"/>
            <a:ext cx="8915400" cy="45720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20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744900" y="2512800"/>
            <a:ext cx="8420100" cy="4345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2,07 x 21,59</a:t>
            </a:r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7429502" y="16020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lIns="72538" tIns="36269" rIns="72538" bIns="36269" anchor="ctr" anchorCtr="0"/>
          <a:lstStyle>
            <a:lvl1pPr marL="0" indent="0" algn="ctr">
              <a:lnSpc>
                <a:spcPct val="100000"/>
              </a:lnSpc>
              <a:buNone/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bb. X–X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0" y="9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ct val="0"/>
              </a:spcBef>
            </a:pPr>
            <a:r>
              <a:rPr lang="de-DE" sz="100" dirty="0">
                <a:solidFill>
                  <a:srgbClr val="0080C8"/>
                </a:solidFill>
                <a:latin typeface="Calibri"/>
              </a:rPr>
              <a:t>VSK-BWL-48uIs3Rr_Copyright_Schäffer-Poeschel_Verlag</a:t>
            </a:r>
          </a:p>
        </p:txBody>
      </p:sp>
    </p:spTree>
    <p:extLst>
      <p:ext uri="{BB962C8B-B14F-4D97-AF65-F5344CB8AC3E}">
        <p14:creationId xmlns:p14="http://schemas.microsoft.com/office/powerpoint/2010/main" val="29940997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2476500" y="230404"/>
            <a:ext cx="71838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2726100" y="230406"/>
            <a:ext cx="47073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726100" y="914400"/>
            <a:ext cx="66885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2971802" y="1144800"/>
            <a:ext cx="61932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5,88/17,15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0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82386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bildung Br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31453" y="1371602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1240200" y="230404"/>
            <a:ext cx="8420100" cy="64007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0080C8">
                  <a:lumMod val="20000"/>
                  <a:lumOff val="80000"/>
                </a:srgbClr>
              </a:solidFill>
            </a:endParaRPr>
          </a:p>
        </p:txBody>
      </p:sp>
      <p:sp>
        <p:nvSpPr>
          <p:cNvPr id="7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1485902" y="230402"/>
            <a:ext cx="5943600" cy="687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buFontTx/>
              <a:buNone/>
              <a:defRPr sz="2000" b="1">
                <a:latin typeface="+mj-lt"/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dirty="0"/>
              <a:t>Legende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1485900" y="914400"/>
            <a:ext cx="7924800" cy="5486400"/>
          </a:xfrm>
          <a:prstGeom prst="rect">
            <a:avLst/>
          </a:prstGeom>
          <a:solidFill>
            <a:schemeClr val="bg1"/>
          </a:solidFill>
          <a:ln w="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123" tIns="46061" rIns="92123" bIns="46061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9" name="Inhaltsplatzhalter 23"/>
          <p:cNvSpPr>
            <a:spLocks noGrp="1"/>
          </p:cNvSpPr>
          <p:nvPr>
            <p:ph sz="quarter" idx="19" hasCustomPrompt="1"/>
          </p:nvPr>
        </p:nvSpPr>
        <p:spPr>
          <a:xfrm>
            <a:off x="1735500" y="1155600"/>
            <a:ext cx="7429500" cy="5029200"/>
          </a:xfrm>
          <a:noFill/>
          <a:ln w="3175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de-DE" dirty="0"/>
              <a:t>13,97/15,24 x 19,05/20,3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429502" y="230402"/>
            <a:ext cx="2230800" cy="457200"/>
          </a:xfrm>
          <a:solidFill>
            <a:schemeClr val="tx2"/>
          </a:solidFill>
          <a:ln w="3175">
            <a:noFill/>
          </a:ln>
        </p:spPr>
        <p:txBody>
          <a:bodyPr vert="horz" lIns="72538" tIns="36269" rIns="72538" bIns="36269" anchor="ctr" anchorCtr="1">
            <a:noAutofit/>
          </a:bodyPr>
          <a:lstStyle>
            <a:lvl1pPr algn="ctr">
              <a:defRPr lang="de-DE" sz="200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76000"/>
              <a:buFont typeface="Wingdings 3"/>
            </a:pPr>
            <a:r>
              <a:rPr lang="de-DE" dirty="0"/>
              <a:t>Abb. X-X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9615860" y="6842620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7119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41" Type="http://schemas.openxmlformats.org/officeDocument/2006/relationships/image" Target="../media/image5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9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01.xml"/><Relationship Id="rId3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41" Type="http://schemas.openxmlformats.org/officeDocument/2006/relationships/image" Target="../media/image5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slideLayout" Target="../slideLayouts/slideLayout112.xml"/><Relationship Id="rId37" Type="http://schemas.openxmlformats.org/officeDocument/2006/relationships/slideLayout" Target="../slideLayouts/slideLayout117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36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35" Type="http://schemas.openxmlformats.org/officeDocument/2006/relationships/slideLayout" Target="../slideLayouts/slideLayout115.xml"/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slideLayout" Target="../slideLayouts/slideLayout113.xml"/><Relationship Id="rId38" Type="http://schemas.openxmlformats.org/officeDocument/2006/relationships/slideLayout" Target="../slideLayouts/slideLayout11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39" Type="http://schemas.openxmlformats.org/officeDocument/2006/relationships/slideLayout" Target="../slideLayouts/slideLayout158.xml"/><Relationship Id="rId21" Type="http://schemas.openxmlformats.org/officeDocument/2006/relationships/slideLayout" Target="../slideLayouts/slideLayout140.xml"/><Relationship Id="rId34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slideLayout" Target="../slideLayouts/slideLayout148.xml"/><Relationship Id="rId41" Type="http://schemas.openxmlformats.org/officeDocument/2006/relationships/image" Target="../media/image5.png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32" Type="http://schemas.openxmlformats.org/officeDocument/2006/relationships/slideLayout" Target="../slideLayouts/slideLayout151.xml"/><Relationship Id="rId37" Type="http://schemas.openxmlformats.org/officeDocument/2006/relationships/slideLayout" Target="../slideLayouts/slideLayout156.xml"/><Relationship Id="rId40" Type="http://schemas.openxmlformats.org/officeDocument/2006/relationships/theme" Target="../theme/theme4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36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31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slideLayout" Target="../slideLayouts/slideLayout149.xml"/><Relationship Id="rId35" Type="http://schemas.openxmlformats.org/officeDocument/2006/relationships/slideLayout" Target="../slideLayouts/slideLayout154.xml"/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33" Type="http://schemas.openxmlformats.org/officeDocument/2006/relationships/slideLayout" Target="../slideLayouts/slideLayout152.xml"/><Relationship Id="rId38" Type="http://schemas.openxmlformats.org/officeDocument/2006/relationships/slideLayout" Target="../slideLayouts/slideLayout1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9600" y="169200"/>
            <a:ext cx="84201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3600" y="1125264"/>
            <a:ext cx="8640000" cy="46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63" name="Rectangle 39"/>
          <p:cNvSpPr>
            <a:spLocks noChangeArrowheads="1"/>
          </p:cNvSpPr>
          <p:nvPr/>
        </p:nvSpPr>
        <p:spPr bwMode="auto">
          <a:xfrm>
            <a:off x="0" y="0"/>
            <a:ext cx="9906000" cy="120650"/>
          </a:xfrm>
          <a:prstGeom prst="rect">
            <a:avLst/>
          </a:prstGeom>
          <a:solidFill>
            <a:srgbClr val="003479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078" name="Rectangle 54"/>
          <p:cNvSpPr>
            <a:spLocks noChangeArrowheads="1"/>
          </p:cNvSpPr>
          <p:nvPr/>
        </p:nvSpPr>
        <p:spPr bwMode="auto">
          <a:xfrm>
            <a:off x="7467600" y="6711950"/>
            <a:ext cx="2438400" cy="146050"/>
          </a:xfrm>
          <a:prstGeom prst="rect">
            <a:avLst/>
          </a:prstGeom>
          <a:solidFill>
            <a:srgbClr val="003479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090" name="Rectangle 66"/>
          <p:cNvSpPr>
            <a:spLocks noChangeArrowheads="1"/>
          </p:cNvSpPr>
          <p:nvPr/>
        </p:nvSpPr>
        <p:spPr bwMode="auto">
          <a:xfrm>
            <a:off x="-5469" y="6629554"/>
            <a:ext cx="3048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7D91AF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+mn-cs"/>
              </a:rPr>
              <a:t>Prof. Dr. Benedikt Schnellbächer</a:t>
            </a:r>
          </a:p>
        </p:txBody>
      </p:sp>
      <p:sp>
        <p:nvSpPr>
          <p:cNvPr id="14" name="Rectangle 66"/>
          <p:cNvSpPr>
            <a:spLocks noChangeArrowheads="1"/>
          </p:cNvSpPr>
          <p:nvPr userDrawn="1"/>
        </p:nvSpPr>
        <p:spPr bwMode="auto">
          <a:xfrm>
            <a:off x="7484282" y="6663783"/>
            <a:ext cx="2438400" cy="242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t>DTE</a:t>
            </a:r>
          </a:p>
        </p:txBody>
      </p:sp>
      <p:sp>
        <p:nvSpPr>
          <p:cNvPr id="15" name="Line 4"/>
          <p:cNvSpPr>
            <a:spLocks noChangeShapeType="1"/>
          </p:cNvSpPr>
          <p:nvPr userDrawn="1">
            <p:custDataLst>
              <p:tags r:id="rId43"/>
            </p:custDataLst>
          </p:nvPr>
        </p:nvSpPr>
        <p:spPr bwMode="auto">
          <a:xfrm flipH="1">
            <a:off x="217488" y="773113"/>
            <a:ext cx="9466262" cy="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131313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+mn-cs"/>
            </a:endParaRPr>
          </a:p>
        </p:txBody>
      </p:sp>
      <p:sp>
        <p:nvSpPr>
          <p:cNvPr id="13" name="Rectangle 67">
            <a:extLst>
              <a:ext uri="{FF2B5EF4-FFF2-40B4-BE49-F238E27FC236}">
                <a16:creationId xmlns:a16="http://schemas.microsoft.com/office/drawing/2014/main" id="{ECCFF760-5B00-47ED-8BF0-15EE7B772D95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113588" y="6669088"/>
            <a:ext cx="4254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defRPr sz="800" b="1">
                <a:solidFill>
                  <a:srgbClr val="003479"/>
                </a:solidFill>
                <a:latin typeface="+mn-lt"/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8A7C30-430F-4F19-B03D-6019DA4D288C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479"/>
                </a:solidFill>
                <a:effectLst/>
                <a:uLnTx/>
                <a:uFillTx/>
                <a:latin typeface="Times New Roman"/>
                <a:ea typeface="ＭＳ Ｐゴシック" pitchFamily="1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1" i="0" u="none" strike="noStrike" kern="1200" cap="none" spc="0" normalizeH="0" baseline="0" noProof="0" dirty="0">
              <a:ln>
                <a:noFill/>
              </a:ln>
              <a:solidFill>
                <a:srgbClr val="003479"/>
              </a:solidFill>
              <a:effectLst/>
              <a:uLnTx/>
              <a:uFillTx/>
              <a:latin typeface="Times New Roman"/>
              <a:ea typeface="ＭＳ Ｐゴシック" pitchFamily="1" charset="-128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53140D5-00AA-4F4C-8401-FDE9F63CEEA3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7905328" y="171025"/>
            <a:ext cx="1728192" cy="5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35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199" r:id="rId10"/>
    <p:sldLayoutId id="2147484200" r:id="rId11"/>
    <p:sldLayoutId id="2147484201" r:id="rId12"/>
    <p:sldLayoutId id="2147484202" r:id="rId13"/>
    <p:sldLayoutId id="2147484203" r:id="rId14"/>
    <p:sldLayoutId id="2147484204" r:id="rId15"/>
    <p:sldLayoutId id="2147484205" r:id="rId16"/>
    <p:sldLayoutId id="2147484206" r:id="rId17"/>
    <p:sldLayoutId id="2147484207" r:id="rId18"/>
    <p:sldLayoutId id="2147484208" r:id="rId19"/>
    <p:sldLayoutId id="2147484209" r:id="rId20"/>
    <p:sldLayoutId id="2147484210" r:id="rId21"/>
    <p:sldLayoutId id="2147484211" r:id="rId22"/>
    <p:sldLayoutId id="2147484212" r:id="rId23"/>
    <p:sldLayoutId id="2147484213" r:id="rId24"/>
    <p:sldLayoutId id="2147484214" r:id="rId25"/>
    <p:sldLayoutId id="2147484215" r:id="rId26"/>
    <p:sldLayoutId id="2147484216" r:id="rId27"/>
    <p:sldLayoutId id="2147484217" r:id="rId28"/>
    <p:sldLayoutId id="2147484218" r:id="rId29"/>
    <p:sldLayoutId id="2147484219" r:id="rId30"/>
    <p:sldLayoutId id="2147484220" r:id="rId31"/>
    <p:sldLayoutId id="2147484221" r:id="rId32"/>
    <p:sldLayoutId id="2147484222" r:id="rId33"/>
    <p:sldLayoutId id="2147484223" r:id="rId34"/>
    <p:sldLayoutId id="2147484224" r:id="rId35"/>
    <p:sldLayoutId id="2147484225" r:id="rId36"/>
    <p:sldLayoutId id="2147484226" r:id="rId37"/>
    <p:sldLayoutId id="2147483701" r:id="rId38"/>
    <p:sldLayoutId id="2147483759" r:id="rId39"/>
    <p:sldLayoutId id="2147483866" r:id="rId40"/>
    <p:sldLayoutId id="2147484188" r:id="rId4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rgbClr val="003479"/>
          </a:solidFill>
          <a:latin typeface="Arial" charset="0"/>
          <a:ea typeface="ＭＳ Ｐゴシック" pitchFamily="1" charset="-128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Font typeface="Wingdings" panose="05000000000000000000" pitchFamily="2" charset="2"/>
        <a:buNone/>
        <a:defRPr sz="18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361950" indent="-171450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00000"/>
        <a:buFont typeface="Wingdings" panose="05000000000000000000" pitchFamily="2" charset="2"/>
        <a:buChar char="§"/>
        <a:defRPr sz="14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534988" indent="-173038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715963" indent="-180975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896938" indent="-180975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16002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6pPr>
      <a:lvl7pPr marL="20574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7pPr>
      <a:lvl8pPr marL="25146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8pPr>
      <a:lvl9pPr marL="2971800" indent="-93663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buClr>
          <a:srgbClr val="003479"/>
        </a:buClr>
        <a:buSzPct val="120000"/>
        <a:buFont typeface="Arial Bold" pitchFamily="1" charset="-52"/>
        <a:buChar char="•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6068">
          <p15:clr>
            <a:srgbClr val="F26B43"/>
          </p15:clr>
        </p15:guide>
        <p15:guide id="4" pos="172">
          <p15:clr>
            <a:srgbClr val="F26B43"/>
          </p15:clr>
        </p15:guide>
        <p15:guide id="5" pos="5842">
          <p15:clr>
            <a:srgbClr val="F26B43"/>
          </p15:clr>
        </p15:guide>
        <p15:guide id="6" pos="398">
          <p15:clr>
            <a:srgbClr val="F26B43"/>
          </p15:clr>
        </p15:guide>
        <p15:guide id="7" pos="5343">
          <p15:clr>
            <a:srgbClr val="F26B43"/>
          </p15:clr>
        </p15:guide>
        <p15:guide id="8" pos="897">
          <p15:clr>
            <a:srgbClr val="F26B43"/>
          </p15:clr>
        </p15:guide>
        <p15:guide id="9" pos="126">
          <p15:clr>
            <a:srgbClr val="F26B43"/>
          </p15:clr>
        </p15:guide>
        <p15:guide id="10" orient="horz" pos="346">
          <p15:clr>
            <a:srgbClr val="F26B43"/>
          </p15:clr>
        </p15:guide>
        <p15:guide id="11" orient="horz" pos="709">
          <p15:clr>
            <a:srgbClr val="F26B43"/>
          </p15:clr>
        </p15:guide>
        <p15:guide id="12" orient="horz" pos="981">
          <p15:clr>
            <a:srgbClr val="F26B43"/>
          </p15:clr>
        </p15:guide>
        <p15:guide id="13" orient="horz" pos="4156">
          <p15:clr>
            <a:srgbClr val="F26B43"/>
          </p15:clr>
        </p15:guide>
        <p15:guide id="14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" y="457201"/>
            <a:ext cx="990600" cy="4572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" y="457201"/>
            <a:ext cx="990600" cy="457200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r>
              <a:rPr lang="de-DE" dirty="0">
                <a:solidFill>
                  <a:srgbClr val="0080C8"/>
                </a:solidFill>
                <a:ea typeface="+mn-ea"/>
              </a:rPr>
              <a:t>123</a:t>
            </a:r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2476500" y="457201"/>
            <a:ext cx="7183800" cy="91440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/>
          <a:p>
            <a:r>
              <a:rPr kumimoji="0" lang="de-DE" dirty="0"/>
              <a:t>Titel</a:t>
            </a:r>
            <a:endParaRPr kumimoji="0"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 dirty="0"/>
              <a:t>Textmasterformate durch Klicken bearbeiten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sp>
        <p:nvSpPr>
          <p:cNvPr id="11" name="Rechteck 10"/>
          <p:cNvSpPr/>
          <p:nvPr/>
        </p:nvSpPr>
        <p:spPr>
          <a:xfrm>
            <a:off x="0" y="1"/>
            <a:ext cx="2230800" cy="4572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1453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  <a:ea typeface="+mn-ea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cxnSp>
        <p:nvCxnSpPr>
          <p:cNvPr id="19" name="Gerade Verbindung 18"/>
          <p:cNvCxnSpPr/>
          <p:nvPr/>
        </p:nvCxnSpPr>
        <p:spPr>
          <a:xfrm rot="10800000">
            <a:off x="1" y="914400"/>
            <a:ext cx="9906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990600" y="457201"/>
            <a:ext cx="0" cy="4572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2476499" y="241200"/>
            <a:ext cx="6193200" cy="21600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00" noProof="1">
                <a:solidFill>
                  <a:srgbClr val="0080C8"/>
                </a:solidFill>
                <a:latin typeface="Calibri"/>
                <a:ea typeface="+mn-ea"/>
              </a:rPr>
              <a:t>Dietmar Vahs/Alexander Brem: Innovationsmanagement, 4. Auflage, 2013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476500" y="113604"/>
            <a:ext cx="6193200" cy="217596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algn="l" eaLnBrk="1" latinLnBrk="0" hangingPunct="1">
              <a:defRPr kumimoji="0" sz="900" b="1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spcBef>
                <a:spcPct val="0"/>
              </a:spcBef>
            </a:pPr>
            <a:r>
              <a:rPr lang="de-DE" dirty="0">
                <a:solidFill>
                  <a:srgbClr val="0080C8"/>
                </a:solidFill>
                <a:ea typeface="+mn-ea"/>
              </a:rPr>
              <a:t>Kapitelbezeichnung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9615859" y="6842619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  <a:ea typeface="+mn-ea"/>
              </a:rPr>
              <a:t>VSK-BWL-48uIs3Rr_Copyright_Schäffer-Poeschel_Verlag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  <a:ea typeface="+mn-ea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1026" name="Picture 2" descr="C:\Users\schkunz\Documents\_BuchfuehrungUndJahresabschluss\Satzdateien\SP-Logo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983" y="120741"/>
            <a:ext cx="746317" cy="26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474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</p:sldLayoutIdLst>
  <p:hf sldNum="0" hdr="0"/>
  <p:txStyles>
    <p:titleStyle>
      <a:lvl1pPr algn="l" rtl="0" eaLnBrk="1" latinLnBrk="0" hangingPunct="1">
        <a:spcBef>
          <a:spcPct val="0"/>
        </a:spcBef>
        <a:buNone/>
        <a:defRPr kumimoji="0"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757" indent="-180757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3114" indent="-182356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 pitchFamily="18" charset="2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3869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6227" indent="-182356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6983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044" indent="-182783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7827" indent="-182783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0610" indent="-182783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3394" indent="-182783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9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" y="457201"/>
            <a:ext cx="990600" cy="4572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" y="457201"/>
            <a:ext cx="990600" cy="457200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r>
              <a:rPr lang="de-DE" dirty="0">
                <a:solidFill>
                  <a:srgbClr val="0080C8"/>
                </a:solidFill>
              </a:rPr>
              <a:t>123</a:t>
            </a:r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2476500" y="457201"/>
            <a:ext cx="7183800" cy="91440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/>
          <a:p>
            <a:r>
              <a:rPr kumimoji="0" lang="de-DE" dirty="0"/>
              <a:t>Titel</a:t>
            </a:r>
            <a:endParaRPr kumimoji="0"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 dirty="0"/>
              <a:t>Textmasterformate durch Klicken bearbeiten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sp>
        <p:nvSpPr>
          <p:cNvPr id="11" name="Rechteck 10"/>
          <p:cNvSpPr/>
          <p:nvPr/>
        </p:nvSpPr>
        <p:spPr>
          <a:xfrm>
            <a:off x="0" y="1"/>
            <a:ext cx="2230800" cy="4572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ct val="0"/>
              </a:spcBef>
            </a:pPr>
            <a:endParaRPr lang="de-DE" sz="1900" dirty="0">
              <a:solidFill>
                <a:srgbClr val="FFFFFF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1453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dirty="0">
                <a:solidFill>
                  <a:srgbClr val="FFFFFF"/>
                </a:solidFill>
                <a:latin typeface="Calibri"/>
              </a:rPr>
              <a:t>Copyright © 2012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9" name="Gerade Verbindung 18"/>
          <p:cNvCxnSpPr/>
          <p:nvPr/>
        </p:nvCxnSpPr>
        <p:spPr>
          <a:xfrm rot="10800000">
            <a:off x="1" y="914400"/>
            <a:ext cx="9906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990600" y="457201"/>
            <a:ext cx="0" cy="4572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2476499" y="241200"/>
            <a:ext cx="6193200" cy="21600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</a:pPr>
            <a:r>
              <a:rPr lang="de-DE" sz="900" noProof="1">
                <a:solidFill>
                  <a:srgbClr val="0080C8"/>
                </a:solidFill>
                <a:latin typeface="Calibri"/>
              </a:rPr>
              <a:t>Dietmar Vahs/Alexander Brem: Innovationsmanagement, 4. Auflage, 2013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476500" y="113604"/>
            <a:ext cx="6193200" cy="217596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algn="l" eaLnBrk="1" latinLnBrk="0" hangingPunct="1">
              <a:defRPr kumimoji="0" sz="900" b="1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spcBef>
                <a:spcPct val="0"/>
              </a:spcBef>
            </a:pPr>
            <a:r>
              <a:rPr lang="de-DE" dirty="0">
                <a:solidFill>
                  <a:srgbClr val="0080C8"/>
                </a:solidFill>
              </a:rPr>
              <a:t>Kapitelbezeichnung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9615859" y="6842619"/>
            <a:ext cx="290143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algn="r">
              <a:spcBef>
                <a:spcPct val="0"/>
              </a:spcBef>
            </a:pPr>
            <a:r>
              <a:rPr lang="de-DE" sz="100" dirty="0">
                <a:solidFill>
                  <a:srgbClr val="FFFFFF"/>
                </a:solidFill>
                <a:latin typeface="Calibri"/>
              </a:rPr>
              <a:t>VSK-BWL-48uIs3Rr_Copyright_Schäffer-Poeschel_Verlag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1204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de-DE" sz="400" noProof="1">
                <a:solidFill>
                  <a:srgbClr val="000000">
                    <a:lumMod val="50000"/>
                    <a:lumOff val="50000"/>
                  </a:srgbClr>
                </a:solidFill>
                <a:latin typeface="Calibri"/>
              </a:rPr>
              <a:t>Copyright © Schäffer-Poeschel Verlag für Wirtschaft · Steuern · Recht GmbH</a:t>
            </a:r>
          </a:p>
          <a:p>
            <a:pPr>
              <a:spcBef>
                <a:spcPct val="0"/>
              </a:spcBef>
            </a:pPr>
            <a:endParaRPr lang="de-DE" sz="400" noProof="1">
              <a:solidFill>
                <a:srgbClr val="000000">
                  <a:lumMod val="50000"/>
                  <a:lumOff val="50000"/>
                </a:srgbClr>
              </a:solidFill>
              <a:latin typeface="Calibri"/>
            </a:endParaRPr>
          </a:p>
        </p:txBody>
      </p:sp>
      <p:pic>
        <p:nvPicPr>
          <p:cNvPr id="1026" name="Picture 2" descr="C:\Users\schkunz\Documents\_BuchfuehrungUndJahresabschluss\Satzdateien\SP-Logo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983" y="120741"/>
            <a:ext cx="746317" cy="26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6504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  <p:sldLayoutId id="2147483748" r:id="rId31"/>
    <p:sldLayoutId id="2147483749" r:id="rId32"/>
    <p:sldLayoutId id="2147483750" r:id="rId33"/>
    <p:sldLayoutId id="2147483751" r:id="rId34"/>
    <p:sldLayoutId id="2147483752" r:id="rId35"/>
    <p:sldLayoutId id="2147483753" r:id="rId36"/>
    <p:sldLayoutId id="2147483754" r:id="rId37"/>
    <p:sldLayoutId id="2147483755" r:id="rId38"/>
    <p:sldLayoutId id="2147483756" r:id="rId39"/>
  </p:sldLayoutIdLst>
  <p:hf sldNum="0" hdr="0"/>
  <p:txStyles>
    <p:titleStyle>
      <a:lvl1pPr algn="l" rtl="0" eaLnBrk="1" latinLnBrk="0" hangingPunct="1">
        <a:spcBef>
          <a:spcPct val="0"/>
        </a:spcBef>
        <a:buNone/>
        <a:defRPr kumimoji="0"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757" indent="-180757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3114" indent="-182356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 pitchFamily="18" charset="2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3869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6227" indent="-182356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6983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044" indent="-182783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7827" indent="-182783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0610" indent="-182783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3394" indent="-182783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9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" y="457201"/>
            <a:ext cx="990600" cy="45720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fld id="{C7B6B0BC-064C-44E6-A0B4-831DDF958046}" type="slidenum">
              <a:rPr lang="de-DE" smtClean="0">
                <a:solidFill>
                  <a:srgbClr val="0080C8"/>
                </a:solidFill>
                <a:ea typeface="+mn-ea"/>
              </a:rPr>
              <a:pPr>
                <a:spcBef>
                  <a:spcPct val="0"/>
                </a:spcBef>
              </a:pPr>
              <a:t>‹Nr.›</a:t>
            </a:fld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" y="457201"/>
            <a:ext cx="990600" cy="457200"/>
          </a:xfrm>
          <a:prstGeom prst="rect">
            <a:avLst/>
          </a:prstGeom>
        </p:spPr>
        <p:txBody>
          <a:bodyPr vert="horz" wrap="none" lIns="0" tIns="0" rIns="0" bIns="0" anchor="ctr" anchorCtr="0"/>
          <a:lstStyle>
            <a:lvl1pPr algn="ctr" eaLnBrk="1" latinLnBrk="0" hangingPunct="1">
              <a:defRPr kumimoji="0" sz="2000" b="1">
                <a:solidFill>
                  <a:schemeClr val="tx2"/>
                </a:solidFill>
                <a:latin typeface="+mj-lt"/>
              </a:defRPr>
            </a:lvl1pPr>
          </a:lstStyle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123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2476500" y="457201"/>
            <a:ext cx="7183800" cy="914400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/>
          <a:p>
            <a:r>
              <a:rPr kumimoji="0" lang="de-DE" dirty="0"/>
              <a:t>Titel</a:t>
            </a:r>
            <a:endParaRPr kumimoji="0"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476500" y="1371600"/>
            <a:ext cx="7183800" cy="52596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/>
          <a:p>
            <a:pPr lvl="0" eaLnBrk="1" latinLnBrk="0" hangingPunct="1"/>
            <a:r>
              <a:rPr kumimoji="0" lang="de-DE" dirty="0"/>
              <a:t>Textmasterformate durch Klicken bearbeiten</a:t>
            </a:r>
          </a:p>
          <a:p>
            <a:pPr lvl="1" eaLnBrk="1" latinLnBrk="0" hangingPunct="1"/>
            <a:r>
              <a:rPr kumimoji="0" lang="de-DE" dirty="0"/>
              <a:t>Zweite Ebene</a:t>
            </a:r>
          </a:p>
          <a:p>
            <a:pPr lvl="2" eaLnBrk="1" latinLnBrk="0" hangingPunct="1"/>
            <a:r>
              <a:rPr kumimoji="0" lang="de-DE" dirty="0"/>
              <a:t>Dritte Ebene</a:t>
            </a:r>
          </a:p>
          <a:p>
            <a:pPr lvl="3" eaLnBrk="1" latinLnBrk="0" hangingPunct="1"/>
            <a:r>
              <a:rPr kumimoji="0" lang="de-DE" dirty="0"/>
              <a:t>Vierte Ebene</a:t>
            </a:r>
          </a:p>
          <a:p>
            <a:pPr lvl="4" eaLnBrk="1" latinLnBrk="0" hangingPunct="1"/>
            <a:r>
              <a:rPr kumimoji="0" lang="de-DE" dirty="0"/>
              <a:t>Fünfte Ebene</a:t>
            </a:r>
            <a:endParaRPr kumimoji="0" lang="en-US" dirty="0"/>
          </a:p>
        </p:txBody>
      </p:sp>
      <p:sp>
        <p:nvSpPr>
          <p:cNvPr id="11" name="Rechteck 10"/>
          <p:cNvSpPr/>
          <p:nvPr/>
        </p:nvSpPr>
        <p:spPr>
          <a:xfrm>
            <a:off x="0" y="1"/>
            <a:ext cx="2230800" cy="457200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1450" y="1371601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2012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9" name="Gerade Verbindung 18"/>
          <p:cNvCxnSpPr/>
          <p:nvPr/>
        </p:nvCxnSpPr>
        <p:spPr>
          <a:xfrm rot="10800000">
            <a:off x="1" y="914400"/>
            <a:ext cx="9906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990600" y="457201"/>
            <a:ext cx="0" cy="45720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>
          <a:xfrm>
            <a:off x="2476499" y="241200"/>
            <a:ext cx="6193200" cy="21600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1">
                <a:ln>
                  <a:noFill/>
                </a:ln>
                <a:solidFill>
                  <a:srgbClr val="0080C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etmar Vahs/Alexander Brem: Innovationsmanagement, 4. Auflage, 2013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476500" y="113604"/>
            <a:ext cx="6193200" cy="217596"/>
          </a:xfrm>
          <a:prstGeom prst="rect">
            <a:avLst/>
          </a:prstGeom>
        </p:spPr>
        <p:txBody>
          <a:bodyPr vert="horz" wrap="none" lIns="0" tIns="0" rIns="0" bIns="0" anchor="ctr" anchorCtr="0">
            <a:noAutofit/>
          </a:bodyPr>
          <a:lstStyle>
            <a:lvl1pPr algn="l" eaLnBrk="1" latinLnBrk="0" hangingPunct="1">
              <a:defRPr kumimoji="0" sz="900" b="1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spcBef>
                <a:spcPct val="0"/>
              </a:spcBef>
            </a:pPr>
            <a:r>
              <a:rPr lang="de-DE">
                <a:solidFill>
                  <a:srgbClr val="0080C8"/>
                </a:solidFill>
                <a:ea typeface="+mn-ea"/>
              </a:rPr>
              <a:t>Kapitelbezeichnung</a:t>
            </a:r>
            <a:endParaRPr lang="de-DE" dirty="0">
              <a:solidFill>
                <a:srgbClr val="0080C8"/>
              </a:solidFill>
              <a:ea typeface="+mn-ea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9615858" y="6842613"/>
            <a:ext cx="290144" cy="1538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SK-BWL-48uIs3Rr_Copyright_Schäffer-Poeschel_Verlag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31201" y="1371600"/>
            <a:ext cx="78614" cy="4572000"/>
          </a:xfrm>
          <a:prstGeom prst="rect">
            <a:avLst/>
          </a:prstGeom>
          <a:noFill/>
        </p:spPr>
        <p:txBody>
          <a:bodyPr vert="vert270"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" b="0" i="0" u="none" strike="noStrike" kern="1200" cap="none" spc="0" normalizeH="0" baseline="0" noProof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pyright © Schäffer-Poeschel Verlag für Wirtschaft · Steuern · Recht Gmb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00" b="0" i="0" u="none" strike="noStrike" kern="1200" cap="none" spc="0" normalizeH="0" baseline="0" noProof="1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C:\Users\schkunz\Documents\_BuchfuehrungUndJahresabschluss\Satzdateien\SP-Logo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983" y="120741"/>
            <a:ext cx="746317" cy="262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639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  <p:sldLayoutId id="2147483842" r:id="rId16"/>
    <p:sldLayoutId id="2147483843" r:id="rId17"/>
    <p:sldLayoutId id="2147483844" r:id="rId18"/>
    <p:sldLayoutId id="2147483845" r:id="rId19"/>
    <p:sldLayoutId id="2147483846" r:id="rId20"/>
    <p:sldLayoutId id="2147483847" r:id="rId21"/>
    <p:sldLayoutId id="2147483848" r:id="rId22"/>
    <p:sldLayoutId id="2147483849" r:id="rId23"/>
    <p:sldLayoutId id="2147483850" r:id="rId24"/>
    <p:sldLayoutId id="2147483851" r:id="rId25"/>
    <p:sldLayoutId id="2147483852" r:id="rId26"/>
    <p:sldLayoutId id="2147483853" r:id="rId27"/>
    <p:sldLayoutId id="2147483854" r:id="rId28"/>
    <p:sldLayoutId id="2147483855" r:id="rId29"/>
    <p:sldLayoutId id="2147483856" r:id="rId30"/>
    <p:sldLayoutId id="2147483857" r:id="rId31"/>
    <p:sldLayoutId id="2147483858" r:id="rId32"/>
    <p:sldLayoutId id="2147483859" r:id="rId33"/>
    <p:sldLayoutId id="2147483860" r:id="rId34"/>
    <p:sldLayoutId id="2147483861" r:id="rId35"/>
    <p:sldLayoutId id="2147483862" r:id="rId36"/>
    <p:sldLayoutId id="2147483863" r:id="rId37"/>
    <p:sldLayoutId id="2147483864" r:id="rId38"/>
    <p:sldLayoutId id="2147483865" r:id="rId39"/>
  </p:sldLayoutIdLst>
  <p:hf sldNum="0" hdr="0"/>
  <p:txStyles>
    <p:titleStyle>
      <a:lvl1pPr algn="l" rtl="0" eaLnBrk="1" latinLnBrk="0" hangingPunct="1">
        <a:spcBef>
          <a:spcPct val="0"/>
        </a:spcBef>
        <a:buNone/>
        <a:defRPr kumimoji="0"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757" indent="-180757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3114" indent="-182356" algn="l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6000"/>
        <a:buFont typeface="Wingdings 3" pitchFamily="18" charset="2"/>
        <a:buChar char="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3869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26227" indent="-182356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06983" indent="-180757" algn="l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SzPct val="100000"/>
        <a:buFont typeface="Symbol" pitchFamily="18" charset="2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044" indent="-182783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7827" indent="-182783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0610" indent="-182783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3394" indent="-182783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2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9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5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Rectangle 11"/>
          <p:cNvSpPr>
            <a:spLocks noChangeArrowheads="1"/>
          </p:cNvSpPr>
          <p:nvPr/>
        </p:nvSpPr>
        <p:spPr bwMode="auto">
          <a:xfrm>
            <a:off x="468315" y="2852742"/>
            <a:ext cx="64008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spcBef>
                <a:spcPct val="0"/>
              </a:spcBef>
            </a:pPr>
            <a:r>
              <a:rPr lang="de-DE" sz="1400" b="1" dirty="0">
                <a:solidFill>
                  <a:srgbClr val="003479"/>
                </a:solidFill>
                <a:latin typeface="+mn-lt"/>
              </a:rPr>
              <a:t>Präsentation</a:t>
            </a:r>
          </a:p>
        </p:txBody>
      </p:sp>
      <p:sp>
        <p:nvSpPr>
          <p:cNvPr id="5" name="Rectangle 14"/>
          <p:cNvSpPr txBox="1">
            <a:spLocks noChangeArrowheads="1"/>
          </p:cNvSpPr>
          <p:nvPr/>
        </p:nvSpPr>
        <p:spPr bwMode="auto">
          <a:xfrm>
            <a:off x="466725" y="3429000"/>
            <a:ext cx="6400800" cy="3240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Font typeface="Times" pitchFamily="1" charset="0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100" indent="-101600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2pPr>
            <a:lvl3pPr marL="571500" indent="-88900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3pPr>
            <a:lvl4pPr marL="858838" indent="-96838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4pPr>
            <a:lvl5pPr marL="1143000" indent="-936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5pPr>
            <a:lvl6pPr marL="1600200" indent="-936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057400" indent="-936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2514600" indent="-936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2971800" indent="-936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3479"/>
              </a:buClr>
              <a:buSzPct val="120000"/>
              <a:buFont typeface="Arial Bold" pitchFamily="1" charset="-52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lnSpc>
                <a:spcPct val="90000"/>
              </a:lnSpc>
            </a:pPr>
            <a:r>
              <a:rPr lang="de-DE" sz="1800" kern="0" dirty="0">
                <a:solidFill>
                  <a:srgbClr val="003479"/>
                </a:solidFill>
              </a:rPr>
              <a:t>THEMA</a:t>
            </a:r>
          </a:p>
          <a:p>
            <a:pPr>
              <a:lnSpc>
                <a:spcPct val="90000"/>
              </a:lnSpc>
            </a:pPr>
            <a:endParaRPr lang="de-DE" sz="1800" kern="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f. Dr. Benedikt Schnellbächer</a:t>
            </a:r>
            <a:b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800" kern="0" dirty="0">
              <a:solidFill>
                <a:srgbClr val="00347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hrstuhl für Betriebswirtschaftslehre,</a:t>
            </a:r>
            <a:b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sbesondere Digitale Transformation </a:t>
            </a:r>
            <a:b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d Existenzgründung (DTE)</a:t>
            </a:r>
            <a:br>
              <a:rPr lang="de-DE" sz="18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800" kern="0" dirty="0">
              <a:solidFill>
                <a:srgbClr val="00347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90000"/>
              </a:lnSpc>
            </a:pPr>
            <a:endParaRPr lang="de-DE" sz="1800" kern="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endParaRPr lang="de-DE" sz="1800" kern="0" dirty="0">
              <a:solidFill>
                <a:srgbClr val="003479"/>
              </a:solidFill>
            </a:endParaRPr>
          </a:p>
          <a:p>
            <a:pPr>
              <a:lnSpc>
                <a:spcPct val="90000"/>
              </a:lnSpc>
            </a:pPr>
            <a:r>
              <a:rPr lang="de-DE" sz="1400" kern="0" dirty="0">
                <a:solidFill>
                  <a:srgbClr val="00347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mmersemester 2021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2153923" y="764704"/>
            <a:ext cx="4713602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rgbClr val="131313"/>
              </a:solidFill>
              <a:effectLst/>
              <a:latin typeface="Arial" charset="0"/>
              <a:ea typeface="ＭＳ Ｐゴシック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5414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EUoO5xrEis07B3ZBgvwA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3_SIIE Masterslide">
  <a:themeElements>
    <a:clrScheme name="Benutzerdefiniert 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479"/>
      </a:accent1>
      <a:accent2>
        <a:srgbClr val="C5C7C8"/>
      </a:accent2>
      <a:accent3>
        <a:srgbClr val="E5E9EF"/>
      </a:accent3>
      <a:accent4>
        <a:srgbClr val="000000"/>
      </a:accent4>
      <a:accent5>
        <a:srgbClr val="BFC7D4"/>
      </a:accent5>
      <a:accent6>
        <a:srgbClr val="ACB5BE"/>
      </a:accent6>
      <a:hlink>
        <a:srgbClr val="003479"/>
      </a:hlink>
      <a:folHlink>
        <a:srgbClr val="E1E6EE"/>
      </a:folHlink>
    </a:clrScheme>
    <a:fontScheme name="Benutzerdefiniert 2">
      <a:majorFont>
        <a:latin typeface="Times New Roman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200" b="0" i="0" u="none" strike="noStrike" cap="none" normalizeH="0" baseline="0" smtClean="0">
            <a:ln>
              <a:noFill/>
            </a:ln>
            <a:solidFill>
              <a:srgbClr val="131313"/>
            </a:solidFill>
            <a:effectLst/>
            <a:latin typeface="Arial" charset="0"/>
            <a:ea typeface="ＭＳ Ｐゴシック" pitchFamily="1" charset="-128"/>
          </a:defRPr>
        </a:defPPr>
      </a:lstStyle>
    </a:spDef>
    <a:lnDef>
      <a:spPr bwMode="auto">
        <a:noFill/>
        <a:ln w="2857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rgbClr val="000000">
                    <a:alpha val="74998"/>
                  </a:srgbClr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HCMI Mastersl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CMI Mastersl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CMI Mastersl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ozentenmaterial_VahsBrem_Innovationsmanagement">
  <a:themeElements>
    <a:clrScheme name="BWL-Skript_Lösungen ein">
      <a:dk1>
        <a:srgbClr val="000000"/>
      </a:dk1>
      <a:lt1>
        <a:srgbClr val="FFFFFF"/>
      </a:lt1>
      <a:dk2>
        <a:srgbClr val="0080C8"/>
      </a:dk2>
      <a:lt2>
        <a:srgbClr val="D40032"/>
      </a:lt2>
      <a:accent1>
        <a:srgbClr val="F2F2F2"/>
      </a:accent1>
      <a:accent2>
        <a:srgbClr val="F2F2F2"/>
      </a:accent2>
      <a:accent3>
        <a:srgbClr val="F2F2F2"/>
      </a:accent3>
      <a:accent4>
        <a:srgbClr val="F2F2F2"/>
      </a:accent4>
      <a:accent5>
        <a:srgbClr val="F2F2F2"/>
      </a:accent5>
      <a:accent6>
        <a:srgbClr val="F2F2F2"/>
      </a:accent6>
      <a:hlink>
        <a:srgbClr val="0080C8"/>
      </a:hlink>
      <a:folHlink>
        <a:srgbClr val="0080C8"/>
      </a:folHlink>
    </a:clrScheme>
    <a:fontScheme name="BWL_Skrip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keanos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ozentenmaterial_VahsBrem_Innovationsmanagement">
  <a:themeElements>
    <a:clrScheme name="BWL-Skript_Lösungen ein">
      <a:dk1>
        <a:srgbClr val="000000"/>
      </a:dk1>
      <a:lt1>
        <a:srgbClr val="FFFFFF"/>
      </a:lt1>
      <a:dk2>
        <a:srgbClr val="0080C8"/>
      </a:dk2>
      <a:lt2>
        <a:srgbClr val="D40032"/>
      </a:lt2>
      <a:accent1>
        <a:srgbClr val="F2F2F2"/>
      </a:accent1>
      <a:accent2>
        <a:srgbClr val="F2F2F2"/>
      </a:accent2>
      <a:accent3>
        <a:srgbClr val="F2F2F2"/>
      </a:accent3>
      <a:accent4>
        <a:srgbClr val="F2F2F2"/>
      </a:accent4>
      <a:accent5>
        <a:srgbClr val="F2F2F2"/>
      </a:accent5>
      <a:accent6>
        <a:srgbClr val="F2F2F2"/>
      </a:accent6>
      <a:hlink>
        <a:srgbClr val="0080C8"/>
      </a:hlink>
      <a:folHlink>
        <a:srgbClr val="0080C8"/>
      </a:folHlink>
    </a:clrScheme>
    <a:fontScheme name="BWL_Skrip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keanos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Dozentenmaterial_VahsBrem_Innovationsmanagement">
  <a:themeElements>
    <a:clrScheme name="BWL-Skript_Lösungen ein">
      <a:dk1>
        <a:srgbClr val="000000"/>
      </a:dk1>
      <a:lt1>
        <a:srgbClr val="FFFFFF"/>
      </a:lt1>
      <a:dk2>
        <a:srgbClr val="0080C8"/>
      </a:dk2>
      <a:lt2>
        <a:srgbClr val="D40032"/>
      </a:lt2>
      <a:accent1>
        <a:srgbClr val="F2F2F2"/>
      </a:accent1>
      <a:accent2>
        <a:srgbClr val="F2F2F2"/>
      </a:accent2>
      <a:accent3>
        <a:srgbClr val="F2F2F2"/>
      </a:accent3>
      <a:accent4>
        <a:srgbClr val="F2F2F2"/>
      </a:accent4>
      <a:accent5>
        <a:srgbClr val="F2F2F2"/>
      </a:accent5>
      <a:accent6>
        <a:srgbClr val="F2F2F2"/>
      </a:accent6>
      <a:hlink>
        <a:srgbClr val="0080C8"/>
      </a:hlink>
      <a:folHlink>
        <a:srgbClr val="0080C8"/>
      </a:folHlink>
    </a:clrScheme>
    <a:fontScheme name="BWL_Skrip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keanos">
      <a:fillStyleLst>
        <a:solidFill>
          <a:schemeClr val="phClr"/>
        </a:solidFill>
        <a:gradFill rotWithShape="1">
          <a:gsLst>
            <a:gs pos="0">
              <a:schemeClr val="phClr">
                <a:tint val="45000"/>
                <a:satMod val="200000"/>
              </a:schemeClr>
            </a:gs>
            <a:gs pos="30000">
              <a:schemeClr val="phClr">
                <a:tint val="61000"/>
                <a:satMod val="200000"/>
              </a:schemeClr>
            </a:gs>
            <a:gs pos="45000">
              <a:schemeClr val="phClr">
                <a:tint val="66000"/>
                <a:satMod val="200000"/>
              </a:schemeClr>
            </a:gs>
            <a:gs pos="55000">
              <a:schemeClr val="phClr">
                <a:tint val="66000"/>
                <a:satMod val="200000"/>
              </a:schemeClr>
            </a:gs>
            <a:gs pos="73000">
              <a:schemeClr val="phClr">
                <a:tint val="61000"/>
                <a:satMod val="200000"/>
              </a:schemeClr>
            </a:gs>
            <a:gs pos="100000">
              <a:schemeClr val="phClr">
                <a:tint val="45000"/>
                <a:satMod val="200000"/>
              </a:schemeClr>
            </a:gs>
          </a:gsLst>
          <a:lin ang="950000" scaled="1"/>
        </a:gradFill>
        <a:gradFill rotWithShape="1">
          <a:gsLst>
            <a:gs pos="0">
              <a:schemeClr val="phClr">
                <a:shade val="63000"/>
              </a:schemeClr>
            </a:gs>
            <a:gs pos="30000">
              <a:schemeClr val="phClr">
                <a:shade val="90000"/>
                <a:satMod val="110000"/>
              </a:schemeClr>
            </a:gs>
            <a:gs pos="45000">
              <a:schemeClr val="phClr">
                <a:shade val="100000"/>
                <a:satMod val="118000"/>
              </a:schemeClr>
            </a:gs>
            <a:gs pos="55000">
              <a:schemeClr val="phClr">
                <a:shade val="100000"/>
                <a:satMod val="118000"/>
              </a:schemeClr>
            </a:gs>
            <a:gs pos="73000">
              <a:schemeClr val="phClr">
                <a:shade val="90000"/>
                <a:satMod val="110000"/>
              </a:schemeClr>
            </a:gs>
            <a:gs pos="100000">
              <a:schemeClr val="phClr">
                <a:shade val="63000"/>
              </a:schemeClr>
            </a:gs>
          </a:gsLst>
          <a:lin ang="950000" scaled="1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430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balanced" dir="t">
              <a:rot lat="0" lon="0" rev="0"/>
            </a:lightRig>
          </a:scene3d>
          <a:sp3d prstMaterial="matte">
            <a:bevelT w="0" h="0"/>
            <a:contourClr>
              <a:schemeClr val="phClr">
                <a:tint val="100000"/>
                <a:shade val="100000"/>
                <a:hueMod val="100000"/>
                <a:satMod val="100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cene3d>
            <a:camera prst="orthographicFront" fov="0">
              <a:rot lat="0" lon="0" rev="0"/>
            </a:camera>
            <a:lightRig rig="soft" dir="t">
              <a:rot lat="0" lon="0" rev="2700000"/>
            </a:lightRig>
          </a:scene3d>
          <a:sp3d prstMaterial="matte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IE Masterslide</Template>
  <TotalTime>0</TotalTime>
  <Words>27</Words>
  <Application>Microsoft Office PowerPoint</Application>
  <PresentationFormat>A4-Papier (210 x 297 mm)</PresentationFormat>
  <Paragraphs>9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Folientitel</vt:lpstr>
      </vt:variant>
      <vt:variant>
        <vt:i4>1</vt:i4>
      </vt:variant>
    </vt:vector>
  </HeadingPairs>
  <TitlesOfParts>
    <vt:vector size="14" baseType="lpstr">
      <vt:lpstr>Arial</vt:lpstr>
      <vt:lpstr>Arial Bold</vt:lpstr>
      <vt:lpstr>Calibri</vt:lpstr>
      <vt:lpstr>Lucida Sans</vt:lpstr>
      <vt:lpstr>Symbol</vt:lpstr>
      <vt:lpstr>Times</vt:lpstr>
      <vt:lpstr>Times New Roman</vt:lpstr>
      <vt:lpstr>Wingdings</vt:lpstr>
      <vt:lpstr>Wingdings 3</vt:lpstr>
      <vt:lpstr>3_SIIE Masterslide</vt:lpstr>
      <vt:lpstr>Dozentenmaterial_VahsBrem_Innovationsmanagement</vt:lpstr>
      <vt:lpstr>1_Dozentenmaterial_VahsBrem_Innovationsmanagement</vt:lpstr>
      <vt:lpstr>3_Dozentenmaterial_VahsBrem_Innovationsmanagement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enedikt Schnellbächer</dc:creator>
  <cp:lastModifiedBy>Pascal Thiel</cp:lastModifiedBy>
  <cp:revision>3205</cp:revision>
  <cp:lastPrinted>2016-02-22T13:04:17Z</cp:lastPrinted>
  <dcterms:created xsi:type="dcterms:W3CDTF">2010-10-14T09:06:21Z</dcterms:created>
  <dcterms:modified xsi:type="dcterms:W3CDTF">2020-12-11T15:57:45Z</dcterms:modified>
</cp:coreProperties>
</file>